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charts/chart15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7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charts/chart16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Default Extension="gif" ContentType="image/gif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charts/chart4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272" r:id="rId2"/>
    <p:sldId id="286" r:id="rId3"/>
    <p:sldId id="303" r:id="rId4"/>
    <p:sldId id="287" r:id="rId5"/>
    <p:sldId id="288" r:id="rId6"/>
    <p:sldId id="289" r:id="rId7"/>
    <p:sldId id="291" r:id="rId8"/>
    <p:sldId id="292" r:id="rId9"/>
    <p:sldId id="293" r:id="rId10"/>
    <p:sldId id="257" r:id="rId11"/>
    <p:sldId id="294" r:id="rId12"/>
    <p:sldId id="258" r:id="rId13"/>
    <p:sldId id="304" r:id="rId14"/>
    <p:sldId id="260" r:id="rId15"/>
    <p:sldId id="295" r:id="rId16"/>
    <p:sldId id="261" r:id="rId17"/>
    <p:sldId id="274" r:id="rId18"/>
    <p:sldId id="296" r:id="rId19"/>
    <p:sldId id="264" r:id="rId20"/>
    <p:sldId id="273" r:id="rId21"/>
    <p:sldId id="265" r:id="rId22"/>
    <p:sldId id="266" r:id="rId23"/>
    <p:sldId id="267" r:id="rId24"/>
    <p:sldId id="279" r:id="rId25"/>
    <p:sldId id="276" r:id="rId26"/>
    <p:sldId id="277" r:id="rId27"/>
    <p:sldId id="280" r:id="rId28"/>
    <p:sldId id="281" r:id="rId29"/>
    <p:sldId id="282" r:id="rId30"/>
    <p:sldId id="283" r:id="rId31"/>
    <p:sldId id="284" r:id="rId32"/>
    <p:sldId id="302" r:id="rId33"/>
    <p:sldId id="270" r:id="rId34"/>
    <p:sldId id="271" r:id="rId35"/>
    <p:sldId id="297" r:id="rId36"/>
    <p:sldId id="298" r:id="rId37"/>
    <p:sldId id="299" r:id="rId38"/>
    <p:sldId id="301" r:id="rId3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CC"/>
    <a:srgbClr val="FFCCCC"/>
    <a:srgbClr val="CCCCFF"/>
    <a:srgbClr val="99CCFF"/>
    <a:srgbClr val="CCFFCC"/>
    <a:srgbClr val="CCECFF"/>
    <a:srgbClr val="CCFFFF"/>
    <a:srgbClr val="9933FF"/>
    <a:srgbClr val="FFCCFF"/>
    <a:srgbClr val="0066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99" autoAdjust="0"/>
    <p:restoredTop sz="94660"/>
  </p:normalViewPr>
  <p:slideViewPr>
    <p:cSldViewPr>
      <p:cViewPr varScale="1">
        <p:scale>
          <a:sx n="103" d="100"/>
          <a:sy n="103" d="100"/>
        </p:scale>
        <p:origin x="-20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5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3.0555555555555652E-2"/>
          <c:y val="5.092592592592643E-2"/>
          <c:w val="0.65018197725284665"/>
          <c:h val="0.89814814814815302"/>
        </c:manualLayout>
      </c:layout>
      <c:barChart>
        <c:barDir val="bar"/>
        <c:grouping val="stacked"/>
        <c:ser>
          <c:idx val="0"/>
          <c:order val="0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FFFF00"/>
            </a:solidFill>
          </c:spPr>
          <c:dLbls>
            <c:dLbl>
              <c:idx val="0"/>
              <c:layout>
                <c:manualLayout>
                  <c:x val="0"/>
                  <c:y val="-0.31018518518518734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400" b="1" dirty="0" smtClean="0"/>
                      <a:t>1</a:t>
                    </a:r>
                    <a:r>
                      <a:rPr lang="en-US" b="1" dirty="0" smtClean="0"/>
                      <a:t>74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364,27</a:t>
                    </a:r>
                    <a:endParaRPr lang="en-US" b="1" dirty="0"/>
                  </a:p>
                </c:rich>
              </c:tx>
              <c:spPr/>
              <c:showVal val="1"/>
            </c:dLbl>
            <c:txPr>
              <a:bodyPr/>
              <a:lstStyle/>
              <a:p>
                <a:pPr>
                  <a:defRPr sz="2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2</c:f>
              <c:numCache>
                <c:formatCode>General</c:formatCode>
                <c:ptCount val="1"/>
                <c:pt idx="0">
                  <c:v>2018</c:v>
                </c:pt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74364.27000000011</c:v>
                </c:pt>
              </c:numCache>
            </c:numRef>
          </c:val>
        </c:ser>
        <c:ser>
          <c:idx val="1"/>
          <c:order val="1"/>
          <c:tx>
            <c:strRef>
              <c:f>Лист1!$E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FFCCCC"/>
            </a:solidFill>
          </c:spPr>
          <c:dLbls>
            <c:dLbl>
              <c:idx val="0"/>
              <c:layout>
                <c:manualLayout>
                  <c:x val="4.6434834150623966E-2"/>
                  <c:y val="-0.3101851851851874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400" b="1" dirty="0" smtClean="0"/>
                      <a:t>9</a:t>
                    </a:r>
                    <a:r>
                      <a:rPr lang="ru-RU" sz="2400" b="1" dirty="0" smtClean="0"/>
                      <a:t>87</a:t>
                    </a:r>
                    <a:r>
                      <a:rPr lang="ru-RU" b="1" dirty="0" smtClean="0"/>
                      <a:t> 205</a:t>
                    </a:r>
                    <a:r>
                      <a:rPr lang="en-US" b="1" dirty="0" smtClean="0"/>
                      <a:t>,</a:t>
                    </a:r>
                    <a:r>
                      <a:rPr lang="ru-RU" b="1" dirty="0" smtClean="0"/>
                      <a:t>4</a:t>
                    </a:r>
                    <a:r>
                      <a:rPr lang="en-US" b="1" dirty="0" smtClean="0"/>
                      <a:t>7</a:t>
                    </a:r>
                    <a:endParaRPr lang="en-US" b="1" dirty="0"/>
                  </a:p>
                </c:rich>
              </c:tx>
              <c:spPr/>
              <c:showVal val="1"/>
            </c:dLbl>
            <c:txPr>
              <a:bodyPr/>
              <a:lstStyle/>
              <a:p>
                <a:pPr>
                  <a:defRPr sz="2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2</c:f>
              <c:numCache>
                <c:formatCode>General</c:formatCode>
                <c:ptCount val="1"/>
                <c:pt idx="0">
                  <c:v>2018</c:v>
                </c:pt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992779.26999999897</c:v>
                </c:pt>
              </c:numCache>
            </c:numRef>
          </c:val>
        </c:ser>
        <c:overlap val="100"/>
        <c:axId val="67268608"/>
        <c:axId val="67270144"/>
      </c:barChart>
      <c:catAx>
        <c:axId val="67268608"/>
        <c:scaling>
          <c:orientation val="minMax"/>
        </c:scaling>
        <c:delete val="1"/>
        <c:axPos val="l"/>
        <c:numFmt formatCode="General" sourceLinked="1"/>
        <c:tickLblPos val="none"/>
        <c:crossAx val="67270144"/>
        <c:crosses val="autoZero"/>
        <c:auto val="1"/>
        <c:lblAlgn val="ctr"/>
        <c:lblOffset val="100"/>
      </c:catAx>
      <c:valAx>
        <c:axId val="67270144"/>
        <c:scaling>
          <c:orientation val="minMax"/>
        </c:scaling>
        <c:delete val="1"/>
        <c:axPos val="b"/>
        <c:numFmt formatCode="General" sourceLinked="1"/>
        <c:tickLblPos val="none"/>
        <c:crossAx val="672686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686846373273468"/>
          <c:y val="0.19014982502187244"/>
          <c:w val="0.29280365834897698"/>
          <c:h val="0.78636701662292219"/>
        </c:manualLayout>
      </c:layout>
      <c:txPr>
        <a:bodyPr/>
        <a:lstStyle/>
        <a:p>
          <a:pPr>
            <a:defRPr sz="24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92D05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167143.54</c:v>
                </c:pt>
                <c:pt idx="1">
                  <c:v>1178444.51</c:v>
                </c:pt>
                <c:pt idx="2">
                  <c:v>1188954.84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167143.54</c:v>
                </c:pt>
                <c:pt idx="1">
                  <c:v>1178444.51</c:v>
                </c:pt>
                <c:pt idx="2">
                  <c:v>1188954.8400000001</c:v>
                </c:pt>
              </c:numCache>
            </c:numRef>
          </c:val>
        </c:ser>
        <c:shape val="cylinder"/>
        <c:axId val="53687808"/>
        <c:axId val="53689344"/>
        <c:axId val="0"/>
      </c:bar3DChart>
      <c:catAx>
        <c:axId val="5368780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53689344"/>
        <c:crosses val="autoZero"/>
        <c:auto val="1"/>
        <c:lblAlgn val="ctr"/>
        <c:lblOffset val="100"/>
      </c:catAx>
      <c:valAx>
        <c:axId val="53689344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53687808"/>
        <c:crosses val="autoZero"/>
        <c:crossBetween val="between"/>
      </c:valAx>
    </c:plotArea>
    <c:legend>
      <c:legendPos val="r"/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Средняя заработная плата по категории работников,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уб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c:rich>
      </c:tx>
    </c:title>
    <c:view3D>
      <c:perspective val="30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G$2</c:f>
              <c:strCache>
                <c:ptCount val="1"/>
                <c:pt idx="0">
                  <c:v>Средняя заработная плата по категории работников, руб</c:v>
                </c:pt>
              </c:strCache>
            </c:strRef>
          </c:tx>
          <c:dLbls>
            <c:dLbl>
              <c:idx val="0"/>
              <c:layout>
                <c:manualLayout>
                  <c:x val="1.6303043826129498E-2"/>
                  <c:y val="-1.4697438190232309E-2"/>
                </c:manualLayout>
              </c:layout>
              <c:showVal val="1"/>
            </c:dLbl>
            <c:dLbl>
              <c:idx val="1"/>
              <c:layout>
                <c:manualLayout>
                  <c:x val="1.7784905318643445E-2"/>
                  <c:y val="-1.9596584253643159E-2"/>
                </c:manualLayout>
              </c:layout>
              <c:showVal val="1"/>
            </c:dLbl>
            <c:dLbl>
              <c:idx val="2"/>
              <c:layout>
                <c:manualLayout>
                  <c:x val="2.3713518292551989E-2"/>
                  <c:y val="-2.4495730317053892E-3"/>
                </c:manualLayout>
              </c:layout>
              <c:showVal val="1"/>
            </c:dLbl>
            <c:txPr>
              <a:bodyPr/>
              <a:lstStyle/>
              <a:p>
                <a:pPr>
                  <a:defRPr sz="3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2:$D$2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1:$D$1</c:f>
              <c:numCache>
                <c:formatCode>General</c:formatCode>
                <c:ptCount val="3"/>
                <c:pt idx="0">
                  <c:v>23252.25</c:v>
                </c:pt>
                <c:pt idx="1">
                  <c:v>24182.34</c:v>
                </c:pt>
                <c:pt idx="2">
                  <c:v>25149.629999999896</c:v>
                </c:pt>
              </c:numCache>
            </c:numRef>
          </c:val>
        </c:ser>
        <c:shape val="box"/>
        <c:axId val="81344768"/>
        <c:axId val="81350656"/>
        <c:axId val="0"/>
      </c:bar3DChart>
      <c:catAx>
        <c:axId val="8134476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1350656"/>
        <c:crosses val="autoZero"/>
        <c:auto val="1"/>
        <c:lblAlgn val="ctr"/>
        <c:lblOffset val="100"/>
      </c:catAx>
      <c:valAx>
        <c:axId val="81350656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1344768"/>
        <c:crosses val="autoZero"/>
        <c:crossBetween val="between"/>
      </c:valAx>
    </c:plotArea>
    <c:plotVisOnly val="1"/>
  </c:chart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Средняя зарплата по категории работников, руб</a:t>
            </a:r>
            <a:r>
              <a:rPr lang="ru-RU" sz="2000" dirty="0"/>
              <a:t>.</a:t>
            </a:r>
          </a:p>
        </c:rich>
      </c:tx>
    </c:title>
    <c:view3D>
      <c:perspective val="30"/>
    </c:view3D>
    <c:plotArea>
      <c:layout>
        <c:manualLayout>
          <c:layoutTarget val="inner"/>
          <c:xMode val="edge"/>
          <c:yMode val="edge"/>
          <c:x val="9.8507009091270234E-2"/>
          <c:y val="0.15083297005364427"/>
          <c:w val="0.89756260150926537"/>
          <c:h val="0.7849230351614376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Q$5</c:f>
              <c:strCache>
                <c:ptCount val="1"/>
                <c:pt idx="0">
                  <c:v>Средняя зарплата по категории работников, руб.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rgbClr val="92D050"/>
              </a:solidFill>
            </a:ln>
          </c:spPr>
          <c:dLbls>
            <c:txPr>
              <a:bodyPr/>
              <a:lstStyle/>
              <a:p>
                <a:pPr>
                  <a:defRPr sz="3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1:$D$1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19332.080000000005</c:v>
                </c:pt>
                <c:pt idx="1">
                  <c:v>20105.36</c:v>
                </c:pt>
                <c:pt idx="2">
                  <c:v>20909.57</c:v>
                </c:pt>
              </c:numCache>
            </c:numRef>
          </c:val>
        </c:ser>
        <c:shape val="box"/>
        <c:axId val="67317760"/>
        <c:axId val="67319296"/>
        <c:axId val="0"/>
      </c:bar3DChart>
      <c:catAx>
        <c:axId val="673177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7319296"/>
        <c:crosses val="autoZero"/>
        <c:auto val="1"/>
        <c:lblAlgn val="ctr"/>
        <c:lblOffset val="100"/>
      </c:catAx>
      <c:valAx>
        <c:axId val="67319296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7317760"/>
        <c:crosses val="autoZero"/>
        <c:crossBetween val="between"/>
      </c:valAx>
    </c:plotArea>
    <c:plotVisOnly val="1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3200"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Средняя зарплата по категории работников, руб.</a:t>
            </a:r>
          </a:p>
        </c:rich>
      </c:tx>
    </c:title>
    <c:view3D>
      <c:perspective val="30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Q$5</c:f>
              <c:strCache>
                <c:ptCount val="1"/>
                <c:pt idx="0">
                  <c:v>Средняя зарплата по категории работников, руб.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c:spPr>
          <c:dLbls>
            <c:txPr>
              <a:bodyPr/>
              <a:lstStyle/>
              <a:p>
                <a:pPr>
                  <a:defRPr sz="3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1:$D$1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6:$D$6</c:f>
              <c:numCache>
                <c:formatCode>General</c:formatCode>
                <c:ptCount val="3"/>
                <c:pt idx="0">
                  <c:v>23252.25</c:v>
                </c:pt>
                <c:pt idx="1">
                  <c:v>24182.34</c:v>
                </c:pt>
                <c:pt idx="2">
                  <c:v>25149.629999999896</c:v>
                </c:pt>
              </c:numCache>
            </c:numRef>
          </c:val>
        </c:ser>
        <c:shape val="box"/>
        <c:axId val="67331968"/>
        <c:axId val="67333504"/>
        <c:axId val="0"/>
      </c:bar3DChart>
      <c:catAx>
        <c:axId val="6733196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7333504"/>
        <c:crosses val="autoZero"/>
        <c:auto val="1"/>
        <c:lblAlgn val="ctr"/>
        <c:lblOffset val="100"/>
      </c:catAx>
      <c:valAx>
        <c:axId val="67333504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7331968"/>
        <c:crosses val="autoZero"/>
        <c:crossBetween val="between"/>
      </c:valAx>
    </c:plotArea>
    <c:plotVisOnly val="1"/>
  </c:chart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G$4</c:f>
              <c:strCache>
                <c:ptCount val="1"/>
                <c:pt idx="0">
                  <c:v>тыс. руб.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c:spPr>
          <c:dLbls>
            <c:dLbl>
              <c:idx val="0"/>
              <c:layout>
                <c:manualLayout>
                  <c:x val="1.4820948932844978E-3"/>
                  <c:y val="-9.9362981577946746E-3"/>
                </c:manualLayout>
              </c:layout>
              <c:showVal val="1"/>
            </c:dLbl>
            <c:dLbl>
              <c:idx val="1"/>
              <c:layout>
                <c:manualLayout>
                  <c:x val="1.9267233612698501E-2"/>
                  <c:y val="-9.9362981577946746E-3"/>
                </c:manualLayout>
              </c:layout>
              <c:showVal val="1"/>
            </c:dLbl>
            <c:dLbl>
              <c:idx val="2"/>
              <c:layout>
                <c:manualLayout>
                  <c:x val="2.0749328505982996E-2"/>
                  <c:y val="-9.9362981577946746E-3"/>
                </c:manualLayout>
              </c:layout>
              <c:showVal val="1"/>
            </c:dLbl>
            <c:txPr>
              <a:bodyPr/>
              <a:lstStyle/>
              <a:p>
                <a:pPr>
                  <a:defRPr sz="3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2:$D$2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1:$D$1</c:f>
              <c:numCache>
                <c:formatCode>General</c:formatCode>
                <c:ptCount val="3"/>
                <c:pt idx="0">
                  <c:v>11843.720000000008</c:v>
                </c:pt>
                <c:pt idx="1">
                  <c:v>11843.720000000008</c:v>
                </c:pt>
                <c:pt idx="2">
                  <c:v>11843.720000000008</c:v>
                </c:pt>
              </c:numCache>
            </c:numRef>
          </c:val>
        </c:ser>
        <c:shape val="cylinder"/>
        <c:axId val="82780160"/>
        <c:axId val="82781696"/>
        <c:axId val="0"/>
      </c:bar3DChart>
      <c:catAx>
        <c:axId val="827801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2781696"/>
        <c:crosses val="autoZero"/>
        <c:auto val="1"/>
        <c:lblAlgn val="ctr"/>
        <c:lblOffset val="100"/>
      </c:catAx>
      <c:valAx>
        <c:axId val="82781696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2780160"/>
        <c:crosses val="autoZero"/>
        <c:crossBetween val="between"/>
      </c:valAx>
    </c:plotArea>
    <c:legend>
      <c:legendPos val="r"/>
      <c:txPr>
        <a:bodyPr/>
        <a:lstStyle/>
        <a:p>
          <a:pPr>
            <a:defRPr sz="20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G$1</c:f>
              <c:strCache>
                <c:ptCount val="1"/>
                <c:pt idx="0">
                  <c:v>тыс. руб.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</c:spPr>
          <c:dLbls>
            <c:dLbl>
              <c:idx val="0"/>
              <c:layout>
                <c:manualLayout>
                  <c:x val="3.0609546597669315E-2"/>
                  <c:y val="-1.7388521776140687E-2"/>
                </c:manualLayout>
              </c:layout>
              <c:showVal val="1"/>
            </c:dLbl>
            <c:dLbl>
              <c:idx val="1"/>
              <c:layout>
                <c:manualLayout>
                  <c:x val="2.4779156769541736E-2"/>
                  <c:y val="-7.4522236183460402E-3"/>
                </c:manualLayout>
              </c:layout>
              <c:showVal val="1"/>
            </c:dLbl>
            <c:dLbl>
              <c:idx val="2"/>
              <c:layout>
                <c:manualLayout>
                  <c:x val="1.7491169484382403E-2"/>
                  <c:y val="7.4522236183460402E-3"/>
                </c:manualLayout>
              </c:layout>
              <c:showVal val="1"/>
            </c:dLbl>
            <c:txPr>
              <a:bodyPr/>
              <a:lstStyle/>
              <a:p>
                <a:pPr>
                  <a:defRPr sz="3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1:$D$1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2276.16</c:v>
                </c:pt>
                <c:pt idx="1">
                  <c:v>3196.27</c:v>
                </c:pt>
                <c:pt idx="2">
                  <c:v>4145.37</c:v>
                </c:pt>
              </c:numCache>
            </c:numRef>
          </c:val>
        </c:ser>
        <c:shape val="cone"/>
        <c:axId val="82818944"/>
        <c:axId val="82820480"/>
        <c:axId val="0"/>
      </c:bar3DChart>
      <c:catAx>
        <c:axId val="828189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2820480"/>
        <c:crosses val="autoZero"/>
        <c:auto val="1"/>
        <c:lblAlgn val="ctr"/>
        <c:lblOffset val="100"/>
      </c:catAx>
      <c:valAx>
        <c:axId val="82820480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2818944"/>
        <c:crosses val="autoZero"/>
        <c:crossBetween val="between"/>
      </c:valAx>
    </c:plotArea>
    <c:legend>
      <c:legendPos val="r"/>
      <c:txPr>
        <a:bodyPr/>
        <a:lstStyle/>
        <a:p>
          <a:pPr>
            <a:defRPr sz="20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G$1</c:f>
              <c:strCache>
                <c:ptCount val="1"/>
                <c:pt idx="0">
                  <c:v>тыс. руб.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c:spPr>
          <c:dLbls>
            <c:dLbl>
              <c:idx val="0"/>
              <c:layout>
                <c:manualLayout>
                  <c:x val="2.7467348800953081E-2"/>
                  <c:y val="-3.0651649235720051E-2"/>
                </c:manualLayout>
              </c:layout>
              <c:showVal val="1"/>
            </c:dLbl>
            <c:dLbl>
              <c:idx val="1"/>
              <c:layout>
                <c:manualLayout>
                  <c:x val="1.7347799242707199E-2"/>
                  <c:y val="-2.5543041029766843E-3"/>
                </c:manualLayout>
              </c:layout>
              <c:showVal val="1"/>
            </c:dLbl>
            <c:dLbl>
              <c:idx val="2"/>
              <c:layout>
                <c:manualLayout>
                  <c:x val="2.7467348800953081E-2"/>
                  <c:y val="-2.0434432823813506E-2"/>
                </c:manualLayout>
              </c:layout>
              <c:showVal val="1"/>
            </c:dLbl>
            <c:txPr>
              <a:bodyPr/>
              <a:lstStyle/>
              <a:p>
                <a:pPr>
                  <a:defRPr sz="3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1:$D$1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K$1:$M$1</c:f>
              <c:numCache>
                <c:formatCode>General</c:formatCode>
                <c:ptCount val="3"/>
                <c:pt idx="0">
                  <c:v>23547.940000000021</c:v>
                </c:pt>
                <c:pt idx="1">
                  <c:v>48516.57</c:v>
                </c:pt>
                <c:pt idx="2">
                  <c:v>52636.58</c:v>
                </c:pt>
              </c:numCache>
            </c:numRef>
          </c:val>
        </c:ser>
        <c:shape val="pyramid"/>
        <c:axId val="84115456"/>
        <c:axId val="84116992"/>
        <c:axId val="0"/>
      </c:bar3DChart>
      <c:catAx>
        <c:axId val="8411545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4116992"/>
        <c:crosses val="autoZero"/>
        <c:auto val="1"/>
        <c:lblAlgn val="ctr"/>
        <c:lblOffset val="100"/>
      </c:catAx>
      <c:valAx>
        <c:axId val="84116992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4115456"/>
        <c:crosses val="autoZero"/>
        <c:crossBetween val="between"/>
      </c:valAx>
    </c:plotArea>
    <c:legend>
      <c:legendPos val="r"/>
      <c:txPr>
        <a:bodyPr/>
        <a:lstStyle/>
        <a:p>
          <a:pPr>
            <a:defRPr sz="20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20"/>
      <c:perspective val="30"/>
    </c:view3D>
    <c:plotArea>
      <c:layout>
        <c:manualLayout>
          <c:layoutTarget val="inner"/>
          <c:xMode val="edge"/>
          <c:yMode val="edge"/>
          <c:x val="8.1497036428138589E-2"/>
          <c:y val="7.8369877579171229E-2"/>
          <c:w val="0.7953397291684694"/>
          <c:h val="0.5694345939421805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9999FF"/>
            </a:solidFill>
            <a:ln w="12686">
              <a:solidFill>
                <a:srgbClr val="000000"/>
              </a:solidFill>
              <a:prstDash val="solid"/>
            </a:ln>
          </c:spPr>
          <c:explosion val="27"/>
          <c:dPt>
            <c:idx val="0"/>
            <c:spPr>
              <a:solidFill>
                <a:srgbClr val="99CCFF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CC99FF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Pt>
            <c:idx val="4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5"/>
            <c:spPr>
              <a:solidFill>
                <a:srgbClr val="FF99CC"/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8"/>
            <c:spPr>
              <a:solidFill>
                <a:srgbClr val="FF6699"/>
              </a:solidFill>
            </c:spPr>
          </c:dPt>
          <c:dLbls>
            <c:dLbl>
              <c:idx val="0"/>
              <c:layout>
                <c:manualLayout>
                  <c:x val="-0.18729222549104624"/>
                  <c:y val="2.6374504281855282E-2"/>
                </c:manualLayout>
              </c:layout>
              <c:tx>
                <c:rich>
                  <a:bodyPr/>
                  <a:lstStyle/>
                  <a:p>
                    <a:pPr>
                      <a:defRPr b="0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b="0" dirty="0" smtClean="0">
                        <a:latin typeface="Times New Roman" pitchFamily="18" charset="0"/>
                        <a:cs typeface="Times New Roman" pitchFamily="18" charset="0"/>
                      </a:rPr>
                      <a:t>6</a:t>
                    </a:r>
                    <a:r>
                      <a:rPr lang="ru-RU" b="0" dirty="0" smtClean="0">
                        <a:latin typeface="Times New Roman" pitchFamily="18" charset="0"/>
                        <a:cs typeface="Times New Roman" pitchFamily="18" charset="0"/>
                      </a:rPr>
                      <a:t>2,98</a:t>
                    </a:r>
                    <a:endParaRPr lang="en-US" b="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"/>
              <c:layout>
                <c:manualLayout>
                  <c:x val="2.0436531971965051E-2"/>
                  <c:y val="-0.1239217771136278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 b="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2"/>
              <c:layout>
                <c:manualLayout>
                  <c:x val="3.9196084864391939E-2"/>
                  <c:y val="-9.5798191892680268E-2"/>
                </c:manualLayout>
              </c:layout>
              <c:dLblPos val="bestFit"/>
              <c:showLegendKey val="1"/>
              <c:showVal val="1"/>
            </c:dLbl>
            <c:dLbl>
              <c:idx val="3"/>
              <c:layout>
                <c:manualLayout>
                  <c:x val="4.8484470691163614E-2"/>
                  <c:y val="-5.4231991834354523E-2"/>
                </c:manualLayout>
              </c:layout>
              <c:dLblPos val="bestFit"/>
              <c:showLegendKey val="1"/>
              <c:showVal val="1"/>
            </c:dLbl>
            <c:dLbl>
              <c:idx val="4"/>
              <c:layout>
                <c:manualLayout>
                  <c:x val="6.0413495188102316E-2"/>
                  <c:y val="-1.4248906386701654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 b="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5"/>
              <c:layout>
                <c:manualLayout>
                  <c:x val="-1.211008479709268E-2"/>
                  <c:y val="9.3839157422840394E-2"/>
                </c:manualLayout>
              </c:layout>
              <c:showLegendKey val="1"/>
              <c:showVal val="1"/>
            </c:dLbl>
            <c:dLbl>
              <c:idx val="6"/>
              <c:layout>
                <c:manualLayout>
                  <c:x val="-1.4481955380577501E-2"/>
                  <c:y val="5.183231262758832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 b="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7"/>
              <c:layout>
                <c:manualLayout>
                  <c:x val="2.2364908713333912E-2"/>
                  <c:y val="1.9898557388355803E-2"/>
                </c:manualLayout>
              </c:layout>
              <c:dLblPos val="bestFit"/>
              <c:showLegendKey val="1"/>
              <c:showVal val="1"/>
            </c:dLbl>
            <c:dLbl>
              <c:idx val="8"/>
              <c:layout>
                <c:manualLayout>
                  <c:x val="-1.9658323959505081E-2"/>
                  <c:y val="6.397752744410598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 b="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9"/>
              <c:layout>
                <c:manualLayout>
                  <c:x val="-0.11218579648697825"/>
                  <c:y val="2.8314989367204987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 b="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10"/>
              <c:layout>
                <c:manualLayout>
                  <c:x val="-1.4543580489938944E-2"/>
                  <c:y val="1.6142315543890381E-2"/>
                </c:manualLayout>
              </c:layout>
              <c:tx>
                <c:rich>
                  <a:bodyPr/>
                  <a:lstStyle/>
                  <a:p>
                    <a:pPr>
                      <a:defRPr b="0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b="0" dirty="0" smtClean="0">
                        <a:latin typeface="Times New Roman" pitchFamily="18" charset="0"/>
                        <a:cs typeface="Times New Roman" pitchFamily="18" charset="0"/>
                      </a:rPr>
                      <a:t>1</a:t>
                    </a:r>
                    <a:r>
                      <a:rPr lang="ru-RU" b="0" dirty="0" smtClean="0">
                        <a:latin typeface="Times New Roman" pitchFamily="18" charset="0"/>
                        <a:cs typeface="Times New Roman" pitchFamily="18" charset="0"/>
                      </a:rPr>
                      <a:t>0,9</a:t>
                    </a:r>
                    <a:endParaRPr lang="en-US" b="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1"/>
              <c:layout>
                <c:manualLayout>
                  <c:x val="-4.621161417322843E-2"/>
                  <c:y val="-3.1745698454360052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 b="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LegendKey val="1"/>
              <c:showVal val="1"/>
            </c:dLbl>
            <c:txPr>
              <a:bodyPr/>
              <a:lstStyle/>
              <a:p>
                <a:pPr>
                  <a:defRPr b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  <c:showLeaderLines val="1"/>
          </c:dLbls>
          <c:cat>
            <c:strRef>
              <c:f>Лист1!$A$2:$A$11</c:f>
              <c:strCache>
                <c:ptCount val="10"/>
                <c:pt idx="0">
                  <c:v>Налог на доходы физических лиц</c:v>
                </c:pt>
                <c:pt idx="1">
                  <c:v>Доходы от уплаты акцизов на нефтепродукты</c:v>
                </c:pt>
                <c:pt idx="2">
                  <c:v>Единый налог на вмененный доход для отдельных видов деятельности</c:v>
                </c:pt>
                <c:pt idx="3">
                  <c:v>Единый сельскохозяйственный налог</c:v>
                </c:pt>
                <c:pt idx="4">
                  <c:v>Государственная пошлина</c:v>
                </c:pt>
                <c:pt idx="5">
                  <c:v>Доходы от использования имущества, находящегося в муниципальной собственности</c:v>
                </c:pt>
                <c:pt idx="6">
                  <c:v>Плата за негативное воздействие на окружающую среду</c:v>
                </c:pt>
                <c:pt idx="7">
                  <c:v>Доходы от оказания платных услуг</c:v>
                </c:pt>
                <c:pt idx="8">
                  <c:v>Штрафы, санкции, возмещение ущерба</c:v>
                </c:pt>
                <c:pt idx="9">
                  <c:v>Патентная система налогообложения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62.98</c:v>
                </c:pt>
                <c:pt idx="1">
                  <c:v>2.5</c:v>
                </c:pt>
                <c:pt idx="2">
                  <c:v>4.5</c:v>
                </c:pt>
                <c:pt idx="3">
                  <c:v>4.2</c:v>
                </c:pt>
                <c:pt idx="4">
                  <c:v>1.8</c:v>
                </c:pt>
                <c:pt idx="5">
                  <c:v>10.7</c:v>
                </c:pt>
                <c:pt idx="6">
                  <c:v>0.2</c:v>
                </c:pt>
                <c:pt idx="7">
                  <c:v>11.5</c:v>
                </c:pt>
                <c:pt idx="8">
                  <c:v>1.6</c:v>
                </c:pt>
                <c:pt idx="9">
                  <c:v>2.0000000000000011E-2</c:v>
                </c:pt>
              </c:numCache>
            </c:numRef>
          </c:val>
        </c:ser>
      </c:pie3DChart>
      <c:spPr>
        <a:noFill/>
        <a:ln w="25409">
          <a:noFill/>
        </a:ln>
      </c:spPr>
    </c:plotArea>
    <c:legend>
      <c:legendPos val="r"/>
      <c:legendEntry>
        <c:idx val="0"/>
        <c:txPr>
          <a:bodyPr/>
          <a:lstStyle/>
          <a:p>
            <a:pPr algn="just">
              <a:defRPr sz="1400" b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 algn="just">
              <a:defRPr sz="1400" b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</c:legendEntry>
      <c:legendEntry>
        <c:idx val="7"/>
        <c:txPr>
          <a:bodyPr/>
          <a:lstStyle/>
          <a:p>
            <a:pPr algn="just">
              <a:defRPr sz="1298" b="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5.1485030717314167E-2"/>
          <c:y val="0.6624830450025867"/>
          <c:w val="0.80358213636756948"/>
          <c:h val="0.28786151502960222"/>
        </c:manualLayout>
      </c:layout>
      <c:txPr>
        <a:bodyPr/>
        <a:lstStyle/>
        <a:p>
          <a:pPr algn="just">
            <a:defRPr sz="1298" b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799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29</c:f>
              <c:strCache>
                <c:ptCount val="1"/>
                <c:pt idx="0">
                  <c:v>тыс. руб.</c:v>
                </c:pt>
              </c:strCache>
            </c:strRef>
          </c:tx>
          <c:spPr>
            <a:solidFill>
              <a:srgbClr val="FFCCFF"/>
            </a:solidFill>
          </c:spPr>
          <c:cat>
            <c:numRef>
              <c:f>Лист1!$B$30:$B$33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Лист1!$C$30:$C$33</c:f>
              <c:numCache>
                <c:formatCode>General</c:formatCode>
                <c:ptCount val="4"/>
                <c:pt idx="0">
                  <c:v>100072.93999999999</c:v>
                </c:pt>
                <c:pt idx="1">
                  <c:v>109398</c:v>
                </c:pt>
                <c:pt idx="2">
                  <c:v>114981</c:v>
                </c:pt>
                <c:pt idx="3">
                  <c:v>120150</c:v>
                </c:pt>
              </c:numCache>
            </c:numRef>
          </c:val>
        </c:ser>
        <c:shape val="box"/>
        <c:axId val="66353792"/>
        <c:axId val="66355584"/>
        <c:axId val="0"/>
      </c:bar3DChart>
      <c:catAx>
        <c:axId val="6635379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6355584"/>
        <c:crosses val="autoZero"/>
        <c:auto val="1"/>
        <c:lblAlgn val="ctr"/>
        <c:lblOffset val="100"/>
      </c:catAx>
      <c:valAx>
        <c:axId val="66355584"/>
        <c:scaling>
          <c:orientation val="minMax"/>
          <c:max val="12000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6353792"/>
        <c:crosses val="autoZero"/>
        <c:crossBetween val="between"/>
      </c:valAx>
    </c:plotArea>
    <c:plotVisOnly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ofPieChart>
        <c:ofPieType val="pie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dPt>
            <c:idx val="0"/>
            <c:spPr>
              <a:solidFill>
                <a:srgbClr val="CCCCFF"/>
              </a:solidFill>
            </c:spPr>
          </c:dPt>
          <c:dPt>
            <c:idx val="1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99CC"/>
              </a:solidFill>
            </c:spPr>
          </c:dPt>
          <c:dPt>
            <c:idx val="4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0.11856802274715662"/>
                  <c:y val="-0.27452259938052076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smtClean="0">
                        <a:latin typeface="Times New Roman" pitchFamily="18" charset="0"/>
                        <a:cs typeface="Times New Roman" pitchFamily="18" charset="0"/>
                      </a:rPr>
                      <a:t>681</a:t>
                    </a:r>
                    <a:r>
                      <a:rPr lang="ru-RU" sz="2000" b="1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000" b="1" smtClean="0">
                        <a:latin typeface="Times New Roman" pitchFamily="18" charset="0"/>
                        <a:cs typeface="Times New Roman" pitchFamily="18" charset="0"/>
                      </a:rPr>
                      <a:t>581,45</a:t>
                    </a:r>
                    <a:endParaRPr lang="en-US" sz="2000" b="1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-5.7545568821705806E-2"/>
                  <c:y val="0.15061121022934071"/>
                </c:manualLayout>
              </c:layout>
              <c:tx>
                <c:rich>
                  <a:bodyPr/>
                  <a:lstStyle/>
                  <a:p>
                    <a:r>
                      <a:rPr lang="ru-RU" sz="2000" b="1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000" b="1" dirty="0" smtClean="0">
                        <a:latin typeface="Times New Roman" pitchFamily="18" charset="0"/>
                        <a:cs typeface="Times New Roman" pitchFamily="18" charset="0"/>
                      </a:rPr>
                      <a:t>195</a:t>
                    </a:r>
                    <a:r>
                      <a:rPr lang="ru-RU" sz="2000" b="1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000" b="1" dirty="0" smtClean="0">
                        <a:latin typeface="Times New Roman" pitchFamily="18" charset="0"/>
                        <a:cs typeface="Times New Roman" pitchFamily="18" charset="0"/>
                      </a:rPr>
                      <a:t>487</a:t>
                    </a:r>
                    <a:r>
                      <a:rPr lang="ru-RU" sz="2000" b="1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000" b="1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2"/>
              <c:layout>
                <c:manualLayout>
                  <c:x val="-0.12568427384076988"/>
                  <c:y val="0.10160215215228018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dirty="0" smtClean="0">
                        <a:latin typeface="Times New Roman" pitchFamily="18" charset="0"/>
                        <a:cs typeface="Times New Roman" pitchFamily="18" charset="0"/>
                      </a:rPr>
                      <a:t>114</a:t>
                    </a:r>
                    <a:r>
                      <a:rPr lang="ru-RU" sz="2000" b="1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000" b="1" dirty="0" smtClean="0">
                        <a:latin typeface="Times New Roman" pitchFamily="18" charset="0"/>
                        <a:cs typeface="Times New Roman" pitchFamily="18" charset="0"/>
                      </a:rPr>
                      <a:t>281</a:t>
                    </a:r>
                    <a:r>
                      <a:rPr lang="ru-RU" sz="2000" b="1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000" b="1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8.2972199099262206E-2"/>
                  <c:y val="-0.15672713020063253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smtClean="0">
                        <a:latin typeface="Times New Roman" pitchFamily="18" charset="0"/>
                        <a:cs typeface="Times New Roman" pitchFamily="18" charset="0"/>
                      </a:rPr>
                      <a:t>930</a:t>
                    </a:r>
                    <a:r>
                      <a:rPr lang="ru-RU" sz="2000" b="1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000" b="1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5"/>
              <c:layout>
                <c:manualLayout>
                  <c:x val="3.4165244969378825E-2"/>
                  <c:y val="0.1334907064994694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29,82</a:t>
                    </a:r>
                    <a:endParaRPr lang="ru-RU" dirty="0" smtClean="0"/>
                  </a:p>
                  <a:p>
                    <a:r>
                      <a:rPr lang="ru-RU" sz="1800" dirty="0" smtClean="0"/>
                      <a:t>Иные межбюджетные</a:t>
                    </a:r>
                    <a:r>
                      <a:rPr lang="ru-RU" sz="1800" baseline="0" dirty="0" smtClean="0"/>
                      <a:t> трансферты</a:t>
                    </a:r>
                    <a:endParaRPr lang="en-US" sz="1800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A$2:$A$6</c:f>
              <c:strCache>
                <c:ptCount val="5"/>
                <c:pt idx="0">
                  <c:v>Субвенции</c:v>
                </c:pt>
                <c:pt idx="1">
                  <c:v>Дотация на выравнивание</c:v>
                </c:pt>
                <c:pt idx="2">
                  <c:v>Субсидия на формирование РФФПП </c:v>
                </c:pt>
                <c:pt idx="3">
                  <c:v>содержание депутатов и их помощников</c:v>
                </c:pt>
                <c:pt idx="4">
                  <c:v>на содержание КСО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81581.45000000042</c:v>
                </c:pt>
                <c:pt idx="1">
                  <c:v>195487</c:v>
                </c:pt>
                <c:pt idx="2">
                  <c:v>114281</c:v>
                </c:pt>
                <c:pt idx="3">
                  <c:v>930</c:v>
                </c:pt>
                <c:pt idx="4">
                  <c:v>499.82</c:v>
                </c:pt>
              </c:numCache>
            </c:numRef>
          </c:val>
        </c:ser>
        <c:gapWidth val="150"/>
        <c:secondPieSize val="75"/>
        <c:serLines/>
      </c:ofPie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Лист1!$F$2</c:f>
              <c:strCache>
                <c:ptCount val="1"/>
                <c:pt idx="0">
                  <c:v>тыс. руб.</c:v>
                </c:pt>
              </c:strCache>
            </c:strRef>
          </c:tx>
          <c:spPr>
            <a:solidFill>
              <a:srgbClr val="CCCCFF"/>
            </a:solidFill>
          </c:spPr>
          <c:dLbls>
            <c:dLbl>
              <c:idx val="0"/>
              <c:layout>
                <c:manualLayout>
                  <c:x val="4.7222222222222332E-2"/>
                  <c:y val="-9.2592592592593611E-3"/>
                </c:manualLayout>
              </c:layout>
              <c:tx>
                <c:rich>
                  <a:bodyPr/>
                  <a:lstStyle/>
                  <a:p>
                    <a:r>
                      <a:rPr lang="en-US" sz="2400" b="1" dirty="0" smtClean="0"/>
                      <a:t>1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170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622,76</a:t>
                    </a:r>
                    <a:endParaRPr lang="en-US" b="1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4.8611111111111112E-2"/>
                  <c:y val="-1.3888888888888999E-2"/>
                </c:manualLayout>
              </c:layout>
              <c:tx>
                <c:rich>
                  <a:bodyPr/>
                  <a:lstStyle/>
                  <a:p>
                    <a:r>
                      <a:rPr lang="en-US" sz="2400" b="1" dirty="0" smtClean="0"/>
                      <a:t>1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16</a:t>
                    </a:r>
                    <a:r>
                      <a:rPr lang="ru-RU" b="1" dirty="0" smtClean="0"/>
                      <a:t>1 569</a:t>
                    </a:r>
                    <a:r>
                      <a:rPr lang="en-US" b="1" dirty="0" smtClean="0"/>
                      <a:t>,</a:t>
                    </a:r>
                    <a:r>
                      <a:rPr lang="ru-RU" b="1" dirty="0" smtClean="0"/>
                      <a:t>7</a:t>
                    </a:r>
                    <a:r>
                      <a:rPr lang="en-US" b="1" dirty="0" smtClean="0"/>
                      <a:t>4</a:t>
                    </a:r>
                    <a:endParaRPr lang="en-US" b="1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Val val="1"/>
          </c:dLbls>
          <c:cat>
            <c:numRef>
              <c:f>Лист1!$B$2:$B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170622.76</c:v>
                </c:pt>
                <c:pt idx="1">
                  <c:v>1167143.54</c:v>
                </c:pt>
              </c:numCache>
            </c:numRef>
          </c:val>
        </c:ser>
        <c:shape val="box"/>
        <c:axId val="81190912"/>
        <c:axId val="81192448"/>
        <c:axId val="0"/>
      </c:bar3DChart>
      <c:catAx>
        <c:axId val="81190912"/>
        <c:scaling>
          <c:orientation val="minMax"/>
        </c:scaling>
        <c:axPos val="l"/>
        <c:numFmt formatCode="General" sourceLinked="1"/>
        <c:tickLblPos val="nextTo"/>
        <c:crossAx val="81192448"/>
        <c:crosses val="autoZero"/>
        <c:auto val="1"/>
        <c:lblAlgn val="ctr"/>
        <c:lblOffset val="100"/>
      </c:catAx>
      <c:valAx>
        <c:axId val="81192448"/>
        <c:scaling>
          <c:orientation val="minMax"/>
          <c:max val="180000"/>
          <c:min val="120000"/>
        </c:scaling>
        <c:axPos val="b"/>
        <c:majorGridlines/>
        <c:numFmt formatCode="General" sourceLinked="1"/>
        <c:tickLblPos val="nextTo"/>
        <c:crossAx val="81190912"/>
        <c:crosses val="autoZero"/>
        <c:crossBetween val="between"/>
        <c:majorUnit val="10000"/>
        <c:minorUnit val="5000"/>
      </c:valAx>
    </c:plotArea>
    <c:legend>
      <c:legendPos val="r"/>
      <c:layout>
        <c:manualLayout>
          <c:xMode val="edge"/>
          <c:yMode val="edge"/>
          <c:x val="0.83523545494313534"/>
          <c:y val="2.2459623564983652E-2"/>
          <c:w val="0.14115343394575677"/>
          <c:h val="0.1292752989209682"/>
        </c:manualLayout>
      </c:layout>
    </c:legend>
    <c:plotVisOnly val="1"/>
  </c:chart>
  <c:txPr>
    <a:bodyPr/>
    <a:lstStyle/>
    <a:p>
      <a:pPr>
        <a:defRPr sz="20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perspective val="30"/>
    </c:view3D>
    <c:plotArea>
      <c:layout>
        <c:manualLayout>
          <c:layoutTarget val="inner"/>
          <c:xMode val="edge"/>
          <c:yMode val="edge"/>
          <c:x val="7.0833333333333817E-2"/>
          <c:y val="8.4546161537607578E-2"/>
          <c:w val="0.84444444444444722"/>
          <c:h val="0.7941640743621079"/>
        </c:manualLayout>
      </c:layout>
      <c:pie3DChart>
        <c:varyColors val="1"/>
        <c:ser>
          <c:idx val="0"/>
          <c:order val="0"/>
          <c:spPr>
            <a:solidFill>
              <a:schemeClr val="accent5">
                <a:lumMod val="60000"/>
                <a:lumOff val="40000"/>
              </a:schemeClr>
            </a:solidFill>
          </c:spPr>
          <c:explosion val="8"/>
          <c:dPt>
            <c:idx val="0"/>
            <c:explosion val="21"/>
            <c:spPr>
              <a:solidFill>
                <a:srgbClr val="CCCCFF"/>
              </a:solidFill>
            </c:spPr>
          </c:dPt>
          <c:dPt>
            <c:idx val="1"/>
            <c:explosion val="14"/>
          </c:dPt>
          <c:dLbls>
            <c:dLbl>
              <c:idx val="0"/>
              <c:layout>
                <c:manualLayout>
                  <c:x val="-7.7923337707786533E-2"/>
                  <c:y val="0.12676542884124073"/>
                </c:manualLayout>
              </c:layout>
              <c:tx>
                <c:rich>
                  <a:bodyPr/>
                  <a:lstStyle/>
                  <a:p>
                    <a:pPr>
                      <a:defRPr sz="2800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800" dirty="0" smtClean="0"/>
                      <a:t>14,</a:t>
                    </a:r>
                    <a:r>
                      <a:rPr lang="ru-RU" sz="2800" dirty="0" smtClean="0"/>
                      <a:t>8%</a:t>
                    </a:r>
                    <a:endParaRPr lang="en-US" sz="2800" dirty="0"/>
                  </a:p>
                </c:rich>
              </c:tx>
              <c:spPr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5,</a:t>
                    </a:r>
                    <a:r>
                      <a:rPr lang="ru-RU" dirty="0" smtClean="0"/>
                      <a:t>2%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4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  <c:showLeaderLines val="1"/>
          </c:dLbls>
          <c:val>
            <c:numRef>
              <c:f>Лист1!$D$3:$D$4</c:f>
              <c:numCache>
                <c:formatCode>General</c:formatCode>
                <c:ptCount val="2"/>
                <c:pt idx="0">
                  <c:v>14.7</c:v>
                </c:pt>
                <c:pt idx="1">
                  <c:v>85.3</c:v>
                </c:pt>
              </c:numCache>
            </c:numRef>
          </c:val>
        </c:ser>
      </c:pie3DChart>
    </c:plotArea>
    <c:plotVisOnly val="1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lineChart>
        <c:grouping val="standard"/>
        <c:ser>
          <c:idx val="0"/>
          <c:order val="0"/>
          <c:tx>
            <c:strRef>
              <c:f>Лист1!$D$90</c:f>
              <c:strCache>
                <c:ptCount val="1"/>
                <c:pt idx="0">
                  <c:v>тыс. руб.</c:v>
                </c:pt>
              </c:strCache>
            </c:strRef>
          </c:tx>
          <c:spPr>
            <a:ln>
              <a:solidFill>
                <a:srgbClr val="9933FF"/>
              </a:solidFill>
            </a:ln>
          </c:spPr>
          <c:marker>
            <c:spPr>
              <a:solidFill>
                <a:srgbClr val="FF0000"/>
              </a:solidFill>
            </c:spPr>
          </c:marker>
          <c:dLbls>
            <c:dLbl>
              <c:idx val="0"/>
              <c:layout>
                <c:manualLayout>
                  <c:x val="-0.15823689470683391"/>
                  <c:y val="-7.731256648804685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1</a:t>
                    </a:r>
                    <a:r>
                      <a:rPr lang="ru-RU" b="1" dirty="0" smtClean="0"/>
                      <a:t>15 852</a:t>
                    </a:r>
                    <a:r>
                      <a:rPr lang="en-US" b="1" dirty="0" smtClean="0"/>
                      <a:t>,</a:t>
                    </a:r>
                    <a:r>
                      <a:rPr lang="ru-RU" b="1" dirty="0" smtClean="0"/>
                      <a:t>0</a:t>
                    </a:r>
                    <a:r>
                      <a:rPr lang="en-US" b="1" dirty="0" smtClean="0"/>
                      <a:t>3</a:t>
                    </a:r>
                    <a:endParaRPr lang="en-US" b="1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8948766941414275E-2"/>
                  <c:y val="2.4160177027514492E-2"/>
                </c:manualLayout>
              </c:layout>
              <c:tx>
                <c:rich>
                  <a:bodyPr/>
                  <a:lstStyle/>
                  <a:p>
                    <a:r>
                      <a:rPr lang="en-US" b="1" smtClean="0"/>
                      <a:t>1</a:t>
                    </a:r>
                    <a:r>
                      <a:rPr lang="ru-RU" b="1" smtClean="0"/>
                      <a:t> </a:t>
                    </a:r>
                    <a:r>
                      <a:rPr lang="en-US" b="1" smtClean="0"/>
                      <a:t>124</a:t>
                    </a:r>
                    <a:r>
                      <a:rPr lang="ru-RU" b="1" smtClean="0"/>
                      <a:t> </a:t>
                    </a:r>
                    <a:r>
                      <a:rPr lang="en-US" b="1" smtClean="0"/>
                      <a:t>401,77</a:t>
                    </a:r>
                    <a:endParaRPr lang="en-US" b="1"/>
                  </a:p>
                </c:rich>
              </c:tx>
              <c:showVal val="1"/>
            </c:dLbl>
            <c:dLbl>
              <c:idx val="2"/>
              <c:layout>
                <c:manualLayout>
                  <c:x val="2.1863961855478002E-2"/>
                  <c:y val="3.140823013576878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130</a:t>
                    </a:r>
                    <a:r>
                      <a:rPr lang="ru-RU" b="1" dirty="0" smtClean="0"/>
                      <a:t> </a:t>
                    </a:r>
                    <a:r>
                      <a:rPr lang="en-US" b="1" dirty="0" smtClean="0"/>
                      <a:t>960,16</a:t>
                    </a:r>
                    <a:endParaRPr lang="en-US" b="1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4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B$90:$B$92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90:$C$92</c:f>
              <c:numCache>
                <c:formatCode>General</c:formatCode>
                <c:ptCount val="3"/>
                <c:pt idx="0">
                  <c:v>1121425.83</c:v>
                </c:pt>
                <c:pt idx="1">
                  <c:v>1124401.77</c:v>
                </c:pt>
                <c:pt idx="2">
                  <c:v>1130960.1600000008</c:v>
                </c:pt>
              </c:numCache>
            </c:numRef>
          </c:val>
        </c:ser>
        <c:marker val="1"/>
        <c:axId val="81296384"/>
        <c:axId val="81310464"/>
      </c:lineChart>
      <c:catAx>
        <c:axId val="812963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81310464"/>
        <c:crosses val="autoZero"/>
        <c:auto val="1"/>
        <c:lblAlgn val="ctr"/>
        <c:lblOffset val="100"/>
      </c:catAx>
      <c:valAx>
        <c:axId val="81310464"/>
        <c:scaling>
          <c:orientation val="minMax"/>
          <c:max val="1131000"/>
          <c:min val="1121425"/>
        </c:scaling>
        <c:delete val="1"/>
        <c:axPos val="l"/>
        <c:majorGridlines/>
        <c:numFmt formatCode="General" sourceLinked="1"/>
        <c:tickLblPos val="none"/>
        <c:crossAx val="81296384"/>
        <c:crosses val="autoZero"/>
        <c:crossBetween val="between"/>
        <c:majorUnit val="2000"/>
      </c:valAx>
    </c:plotArea>
    <c:legend>
      <c:legendPos val="r"/>
      <c:layout>
        <c:manualLayout>
          <c:xMode val="edge"/>
          <c:yMode val="edge"/>
          <c:x val="0.79969431771125521"/>
          <c:y val="0.4248985653040131"/>
          <c:w val="0.19848839109704258"/>
          <c:h val="9.6841028318010544E-2"/>
        </c:manualLayout>
      </c:layout>
      <c:txPr>
        <a:bodyPr/>
        <a:lstStyle/>
        <a:p>
          <a:pPr>
            <a:defRPr sz="20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3087617683613834E-2"/>
          <c:y val="3.2352821295706179E-2"/>
          <c:w val="0.59094081631040973"/>
          <c:h val="0.93529435740859412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2"/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0.14785989432613841"/>
                  <c:y val="3.938956528326501E-2"/>
                </c:manualLayout>
              </c:layout>
              <c:tx>
                <c:rich>
                  <a:bodyPr/>
                  <a:lstStyle/>
                  <a:p>
                    <a:pPr>
                      <a:defRPr sz="3600"/>
                    </a:pPr>
                    <a:r>
                      <a:rPr lang="en-US" sz="3600" dirty="0" smtClean="0"/>
                      <a:t>96</a:t>
                    </a:r>
                    <a:r>
                      <a:rPr lang="ru-RU" sz="3600" dirty="0" smtClean="0"/>
                      <a:t>,0%</a:t>
                    </a:r>
                    <a:endParaRPr lang="en-US" sz="3600" dirty="0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3.0355424321959753E-2"/>
                  <c:y val="3.0108735122797142E-2"/>
                </c:manualLayout>
              </c:layout>
              <c:tx>
                <c:rich>
                  <a:bodyPr/>
                  <a:lstStyle/>
                  <a:p>
                    <a:pPr>
                      <a:defRPr sz="3600"/>
                    </a:pPr>
                    <a:r>
                      <a:rPr lang="en-US" sz="3600" dirty="0" smtClean="0"/>
                      <a:t>4</a:t>
                    </a:r>
                    <a:r>
                      <a:rPr lang="ru-RU" sz="3600" dirty="0" smtClean="0"/>
                      <a:t>,0%</a:t>
                    </a:r>
                    <a:endParaRPr lang="en-US" sz="3600" dirty="0"/>
                  </a:p>
                </c:rich>
              </c:tx>
              <c:spPr/>
              <c:showVal val="1"/>
            </c:dLbl>
            <c:txPr>
              <a:bodyPr/>
              <a:lstStyle/>
              <a:p>
                <a:pPr>
                  <a:defRPr sz="4000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A$2:$A$3</c:f>
              <c:strCache>
                <c:ptCount val="2"/>
                <c:pt idx="0">
                  <c:v>ПРОГРАММНЫЕ</c:v>
                </c:pt>
                <c:pt idx="1">
                  <c:v>НЕПРОГРАМНЫ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6</c:v>
                </c:pt>
                <c:pt idx="1">
                  <c:v>4</c:v>
                </c:pt>
              </c:numCache>
            </c:numRef>
          </c:val>
        </c:ser>
        <c:firstSliceAng val="95"/>
      </c:pieChart>
    </c:plotArea>
    <c:legend>
      <c:legendPos val="r"/>
      <c:layout>
        <c:manualLayout>
          <c:xMode val="edge"/>
          <c:yMode val="edge"/>
          <c:x val="0"/>
          <c:y val="0.80438191984466856"/>
          <c:w val="0.89645005052086113"/>
          <c:h val="0.19561808015533191"/>
        </c:manualLayout>
      </c:layout>
      <c:txPr>
        <a:bodyPr/>
        <a:lstStyle/>
        <a:p>
          <a:pPr>
            <a:defRPr sz="2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10"/>
      <c:perspective val="30"/>
    </c:view3D>
    <c:plotArea>
      <c:layout>
        <c:manualLayout>
          <c:layoutTarget val="inner"/>
          <c:xMode val="edge"/>
          <c:yMode val="edge"/>
          <c:x val="0.10560050306211768"/>
          <c:y val="0.10591586468358122"/>
          <c:w val="0.89439949693788579"/>
          <c:h val="0.6130835520559936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rgbClr val="99CCFF"/>
              </a:solidFill>
            </c:spPr>
          </c:dPt>
          <c:dPt>
            <c:idx val="2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Pt>
            <c:idx val="5"/>
            <c:spPr>
              <a:solidFill>
                <a:srgbClr val="FFFF00"/>
              </a:solidFill>
            </c:spPr>
          </c:dPt>
          <c:dPt>
            <c:idx val="6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7"/>
            <c:spPr>
              <a:solidFill>
                <a:srgbClr val="FFC000"/>
              </a:solidFill>
            </c:spPr>
          </c:dPt>
          <c:dPt>
            <c:idx val="8"/>
            <c:spPr>
              <a:solidFill>
                <a:srgbClr val="00FF00"/>
              </a:solidFill>
            </c:spPr>
          </c:dPt>
          <c:dPt>
            <c:idx val="10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11"/>
            <c:spPr>
              <a:solidFill>
                <a:srgbClr val="FF66FF"/>
              </a:solidFill>
            </c:spPr>
          </c:dPt>
          <c:dPt>
            <c:idx val="12"/>
            <c:spPr>
              <a:solidFill>
                <a:srgbClr val="9999FF"/>
              </a:solidFill>
            </c:spPr>
          </c:dPt>
          <c:cat>
            <c:strRef>
              <c:f>Лист1!$A$2:$A$18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физической культуры и спорта </c:v>
                </c:pt>
                <c:pt idx="4">
                  <c:v>Молодежная политика </c:v>
                </c:pt>
                <c:pt idx="5">
                  <c:v>Управление имуществом </c:v>
                </c:pt>
                <c:pt idx="6">
                  <c:v>Управление финансами </c:v>
                </c:pt>
                <c:pt idx="7">
                  <c:v>Защита населения и территории Курского района от чрезвычайных ситуаций</c:v>
                </c:pt>
                <c:pt idx="8">
                  <c:v>Развитие малого и среднего бизнеса, потребительского рынка, снижение административных барьеров </c:v>
                </c:pt>
                <c:pt idx="9">
                  <c:v>Развитие коммунального хозяйства, транспортной системы и обеспечение безопасности дорожного движения </c:v>
                </c:pt>
                <c:pt idx="10">
                  <c:v>Развитие сельского хозяйства </c:v>
                </c:pt>
                <c:pt idx="11">
                  <c:v>Межнациональные отношения и поддержка казачества </c:v>
                </c:pt>
                <c:pt idx="12">
                  <c:v>Энергосбережение</c:v>
                </c:pt>
                <c:pt idx="13">
                  <c:v>Профилактика правонарушений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52.1</c:v>
                </c:pt>
                <c:pt idx="1">
                  <c:v>27.4</c:v>
                </c:pt>
                <c:pt idx="2">
                  <c:v>4.5</c:v>
                </c:pt>
                <c:pt idx="3">
                  <c:v>1.1000000000000001</c:v>
                </c:pt>
                <c:pt idx="4">
                  <c:v>0.2</c:v>
                </c:pt>
                <c:pt idx="5">
                  <c:v>7.0000000000000021E-2</c:v>
                </c:pt>
                <c:pt idx="6">
                  <c:v>4.8</c:v>
                </c:pt>
                <c:pt idx="7">
                  <c:v>0.30000000000000032</c:v>
                </c:pt>
                <c:pt idx="8">
                  <c:v>0.8</c:v>
                </c:pt>
                <c:pt idx="9">
                  <c:v>0.5</c:v>
                </c:pt>
                <c:pt idx="10">
                  <c:v>3.4</c:v>
                </c:pt>
                <c:pt idx="11">
                  <c:v>4.0000000000000022E-2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</c:pie3DChart>
    </c:plotArea>
    <c:plotVisOnly val="1"/>
  </c:chart>
  <c:txPr>
    <a:bodyPr/>
    <a:lstStyle/>
    <a:p>
      <a:pPr>
        <a:defRPr sz="1100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99975</cdr:x>
      <cdr:y>0.10316</cdr:y>
    </cdr:to>
    <cdr:sp macro="" textlink="">
      <cdr:nvSpPr>
        <cdr:cNvPr id="2" name="Rectangl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0"/>
          <a:ext cx="9144000" cy="9286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anchor="ctr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2600" b="1" kern="0" dirty="0">
              <a:solidFill>
                <a:srgbClr val="000000"/>
              </a:solidFill>
              <a:cs typeface="Arial"/>
            </a:rPr>
            <a:t/>
          </a:r>
          <a:br>
            <a:rPr lang="ru-RU" sz="2600" b="1" kern="0" dirty="0">
              <a:solidFill>
                <a:srgbClr val="000000"/>
              </a:solidFill>
              <a:cs typeface="Arial"/>
            </a:rPr>
          </a:br>
          <a:r>
            <a:rPr lang="ru-RU" sz="2400" b="1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СТРУКТУРА  НАЛОГОВЫХ И НЕНАЛОГОВЫХ </a:t>
          </a:r>
          <a:r>
            <a:rPr lang="ru-RU" sz="2400" b="1" kern="0" dirty="0" smtClean="0">
              <a:latin typeface="Times New Roman" pitchFamily="18" charset="0"/>
              <a:cs typeface="Times New Roman" pitchFamily="18" charset="0"/>
            </a:rPr>
            <a:t>ДОХОДОВ</a:t>
          </a:r>
          <a:r>
            <a:rPr lang="ru-RU" sz="2400" b="1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БЮДЖЕТА КУРСКОГО МУНИЦИПАЛЬНОГО РАЙОНА </a:t>
          </a:r>
          <a:endParaRPr lang="en-US" sz="2400" b="1" kern="0" dirty="0" smtClean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pPr algn="ctr">
            <a:defRPr/>
          </a:pPr>
          <a:r>
            <a:rPr lang="ru-RU" sz="2200" b="1" kern="0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rPr>
            <a:t> </a:t>
          </a:r>
          <a:endParaRPr lang="ru-RU" sz="2200" b="1" kern="0" dirty="0"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5781</cdr:x>
      <cdr:y>0.03636</cdr:y>
    </cdr:from>
    <cdr:to>
      <cdr:x>0.29687</cdr:x>
      <cdr:y>0.10909</cdr:y>
    </cdr:to>
    <cdr:sp macro="" textlink="">
      <cdr:nvSpPr>
        <cdr:cNvPr id="3" name="Прямая соединительная линия 2"/>
        <cdr:cNvSpPr/>
      </cdr:nvSpPr>
      <cdr:spPr>
        <a:xfrm xmlns:a="http://schemas.openxmlformats.org/drawingml/2006/main" rot="5400000">
          <a:off x="2393141" y="107157"/>
          <a:ext cx="285752" cy="35719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1503</cdr:x>
      <cdr:y>0.14583</cdr:y>
    </cdr:from>
    <cdr:to>
      <cdr:x>0.2416</cdr:x>
      <cdr:y>0.2916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2844" y="1000108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18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115 852,03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34375</cdr:y>
    </cdr:from>
    <cdr:to>
      <cdr:x>0.24159</cdr:x>
      <cdr:y>0.4895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42844" y="2357430"/>
          <a:ext cx="2152596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19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124 401,77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54167</cdr:y>
    </cdr:from>
    <cdr:to>
      <cdr:x>0.2416</cdr:x>
      <cdr:y>0.6874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42844" y="3714752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0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130 960,16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41</cdr:x>
      <cdr:y>0.09375</cdr:y>
    </cdr:from>
    <cdr:to>
      <cdr:x>0.9624</cdr:x>
      <cdr:y>0.14311</cdr:y>
    </cdr:to>
    <cdr:sp macro="" textlink="">
      <cdr:nvSpPr>
        <cdr:cNvPr id="6" name="Text Box 38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956372" y="642918"/>
          <a:ext cx="118762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600" b="1" i="1" dirty="0">
              <a:latin typeface="Times New Roman" pitchFamily="18" charset="0"/>
              <a:cs typeface="Times New Roman" pitchFamily="18" charset="0"/>
            </a:rPr>
            <a:t>тыс. </a:t>
          </a:r>
          <a:r>
            <a:rPr lang="ru-RU" sz="1600" b="1" i="1" dirty="0" smtClean="0">
              <a:latin typeface="Times New Roman" pitchFamily="18" charset="0"/>
              <a:cs typeface="Times New Roman" pitchFamily="18" charset="0"/>
            </a:rPr>
            <a:t>руб.</a:t>
          </a:r>
          <a:endParaRPr lang="ru-RU" sz="1600" b="1" i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9375</cdr:x>
      <cdr:y>0.72917</cdr:y>
    </cdr:from>
    <cdr:to>
      <cdr:x>0.94532</cdr:x>
      <cdr:y>0.95834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857224" y="5000636"/>
          <a:ext cx="7786742" cy="15716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Развитие образования на 2018-2020 годы </a:t>
          </a:r>
        </a:p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Социальная поддержка граждан на 2018-2020 годы   </a:t>
          </a:r>
        </a:p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Управление финансами на 2018-2020 годы</a:t>
          </a:r>
        </a:p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Развитие сельского хозяйства на 2018-2020 годы</a:t>
          </a:r>
        </a:p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Сохранение и развитие культуры на 2018-2020 годы </a:t>
          </a:r>
        </a:p>
        <a:p xmlns:a="http://schemas.openxmlformats.org/drawingml/2006/main">
          <a:endParaRPr lang="ru-RU" sz="18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8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8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7031</cdr:x>
      <cdr:y>0.78125</cdr:y>
    </cdr:from>
    <cdr:to>
      <cdr:x>0.09304</cdr:x>
      <cdr:y>0.8125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668026" y="5357826"/>
          <a:ext cx="216000" cy="214314"/>
        </a:xfrm>
        <a:prstGeom xmlns:a="http://schemas.openxmlformats.org/drawingml/2006/main" prst="rect">
          <a:avLst/>
        </a:prstGeom>
        <a:solidFill xmlns:a="http://schemas.openxmlformats.org/drawingml/2006/main">
          <a:srgbClr val="99CC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07031</cdr:x>
      <cdr:y>0.82292</cdr:y>
    </cdr:from>
    <cdr:to>
      <cdr:x>0.09304</cdr:x>
      <cdr:y>0.85417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668026" y="5643578"/>
          <a:ext cx="216000" cy="214314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>
            <a:lumMod val="40000"/>
            <a:lumOff val="6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07031</cdr:x>
      <cdr:y>0.86459</cdr:y>
    </cdr:from>
    <cdr:to>
      <cdr:x>0.09304</cdr:x>
      <cdr:y>0.89584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668026" y="5929330"/>
          <a:ext cx="216000" cy="214314"/>
        </a:xfrm>
        <a:prstGeom xmlns:a="http://schemas.openxmlformats.org/drawingml/2006/main" prst="rect">
          <a:avLst/>
        </a:prstGeom>
        <a:solidFill xmlns:a="http://schemas.openxmlformats.org/drawingml/2006/main">
          <a:srgbClr val="CCCC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07031</cdr:x>
      <cdr:y>0.90625</cdr:y>
    </cdr:from>
    <cdr:to>
      <cdr:x>0.09304</cdr:x>
      <cdr:y>0.9375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668026" y="6215082"/>
          <a:ext cx="216000" cy="214314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>
            <a:lumMod val="40000"/>
            <a:lumOff val="6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20833</cdr:y>
    </cdr:from>
    <cdr:to>
      <cdr:x>0.46875</cdr:x>
      <cdr:y>0.26042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3428992" y="1428736"/>
          <a:ext cx="857256" cy="3572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2,7%</a:t>
          </a:r>
          <a:endParaRPr lang="ru-RU" sz="18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89063</cdr:x>
      <cdr:y>0.42708</cdr:y>
    </cdr:from>
    <cdr:to>
      <cdr:x>0.98438</cdr:x>
      <cdr:y>0.47916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8143900" y="2928934"/>
          <a:ext cx="857256" cy="3571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26,5%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75</cdr:x>
      <cdr:y>0.51042</cdr:y>
    </cdr:from>
    <cdr:to>
      <cdr:x>0.83271</cdr:x>
      <cdr:y>0.5625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858016" y="3500438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4,8%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5625</cdr:x>
      <cdr:y>0.54167</cdr:y>
    </cdr:from>
    <cdr:to>
      <cdr:x>0.64521</cdr:x>
      <cdr:y>0.59375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5143504" y="3714752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7,8%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6719</cdr:x>
      <cdr:y>0.53125</cdr:y>
    </cdr:from>
    <cdr:to>
      <cdr:x>0.4499</cdr:x>
      <cdr:y>0.58333</cdr:y>
    </cdr:to>
    <cdr:sp macro="" textlink="">
      <cdr:nvSpPr>
        <cdr:cNvPr id="18" name="TextBox 1"/>
        <cdr:cNvSpPr txBox="1"/>
      </cdr:nvSpPr>
      <cdr:spPr>
        <a:xfrm xmlns:a="http://schemas.openxmlformats.org/drawingml/2006/main">
          <a:off x="3357554" y="3643314"/>
          <a:ext cx="756300" cy="3571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1,1%</a:t>
          </a:r>
          <a:endParaRPr lang="ru-RU" sz="1800" b="1" dirty="0">
            <a:solidFill>
              <a:schemeClr val="bg1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126</cdr:x>
      <cdr:y>0.55009</cdr:y>
    </cdr:from>
    <cdr:to>
      <cdr:x>0.2441</cdr:x>
      <cdr:y>0.85569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1357344" y="3143251"/>
          <a:ext cx="1428758" cy="2857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1 161 569,74</a:t>
          </a:r>
          <a:endParaRPr lang="ru-RU" sz="1800" b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E510BB-B788-45F8-B39F-2BCA19A27C9B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7C7E44-110E-4BB4-8137-138D85AD62F1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11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18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4CEF4-2602-46FD-91D3-B9CE975002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20000"/>
                <a:lumOff val="80000"/>
              </a:schemeClr>
            </a:gs>
            <a:gs pos="50000">
              <a:srgbClr val="CCECFF"/>
            </a:gs>
            <a:gs pos="100000">
              <a:schemeClr val="accent3">
                <a:lumMod val="20000"/>
                <a:lumOff val="80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7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chart" Target="../charts/chart6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gi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ext Box 5"/>
          <p:cNvSpPr txBox="1">
            <a:spLocks noChangeArrowheads="1"/>
          </p:cNvSpPr>
          <p:nvPr/>
        </p:nvSpPr>
        <p:spPr bwMode="auto">
          <a:xfrm>
            <a:off x="251520" y="5805264"/>
            <a:ext cx="871537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Финансовое управление администрации Курского 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муниципального 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района </a:t>
            </a:r>
          </a:p>
        </p:txBody>
      </p:sp>
      <p:pic>
        <p:nvPicPr>
          <p:cNvPr id="13314" name="Рисунок 7" descr="Герб Курского района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207168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0" y="2204864"/>
            <a:ext cx="9144000" cy="224676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1" cap="none" spc="0" dirty="0" smtClean="0">
                <a:ln w="12700">
                  <a:noFill/>
                  <a:prstDash val="solid"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БЮДЖЕТ</a:t>
            </a: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ля граждан</a:t>
            </a:r>
            <a:endParaRPr lang="ru-RU" sz="2800" b="1" cap="none" spc="0" dirty="0" smtClean="0">
              <a:ln w="12700">
                <a:noFill/>
                <a:prstDash val="solid"/>
              </a:ln>
              <a:solidFill>
                <a:schemeClr val="accent5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шение «О бюджете Курского муниципального</a:t>
            </a: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йона Ставропольского края на 2018 год</a:t>
            </a: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chemeClr val="accent5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и плановый период 2019 и 2020 годов</a:t>
            </a:r>
            <a:endParaRPr lang="ru-RU" sz="2800" b="1" cap="none" spc="0" dirty="0">
              <a:ln w="12700">
                <a:noFill/>
                <a:prstDash val="solid"/>
              </a:ln>
              <a:solidFill>
                <a:schemeClr val="accent5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2500298" y="188640"/>
            <a:ext cx="3943910" cy="2383104"/>
          </a:xfrm>
          <a:prstGeom prst="ellipse">
            <a:avLst/>
          </a:prstGeom>
          <a:solidFill>
            <a:srgbClr val="CCCCFF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br>
              <a:rPr lang="ru-RU" sz="28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8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Курского муниципального района</a:t>
            </a:r>
            <a:endParaRPr lang="ru-RU" sz="2800" dirty="0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64088" y="3356992"/>
            <a:ext cx="3419872" cy="28803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99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политики и налоговой политики Курского муниципального района Ставропольского края на 2018 год и плановый период 2019 и 2020 годов, утвержденные распоряжением администрации Курского муниципального района  29.09.2017 г. № 317-р</a:t>
            </a:r>
            <a:endParaRPr lang="ru-RU" dirty="0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95536" y="3356992"/>
            <a:ext cx="3419872" cy="28803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99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 Курского муниципального района Ставропольского края на 2018 год и плановый период 2019 и 2020 годов, утвержденные распоряжением администрации Курского муниципального района  29.09.2017 г. № 316-р</a:t>
            </a:r>
            <a:endParaRPr lang="ru-RU" dirty="0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1" name="Прямая со стрелкой 40"/>
          <p:cNvCxnSpPr/>
          <p:nvPr/>
        </p:nvCxnSpPr>
        <p:spPr>
          <a:xfrm rot="16200000" flipH="1">
            <a:off x="5929322" y="2285992"/>
            <a:ext cx="1000132" cy="1000132"/>
          </a:xfrm>
          <a:prstGeom prst="straightConnector1">
            <a:avLst/>
          </a:prstGeom>
          <a:ln w="190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V="1">
            <a:off x="2000232" y="2357430"/>
            <a:ext cx="1071570" cy="928694"/>
          </a:xfrm>
          <a:prstGeom prst="straightConnector1">
            <a:avLst/>
          </a:prstGeom>
          <a:ln w="190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400" b="1" kern="0" dirty="0">
                <a:latin typeface="Times New Roman" pitchFamily="18" charset="0"/>
                <a:ea typeface="+mj-ea"/>
                <a:cs typeface="+mj-cs"/>
              </a:rPr>
              <a:t>ДО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latin typeface="Times New Roman" pitchFamily="18" charset="0"/>
                <a:ea typeface="+mj-ea"/>
                <a:cs typeface="+mj-cs"/>
              </a:rPr>
              <a:t>Доходы бюджета – поступающие в бюджет денежные средства, за исключением средств, являющихся источниками финансирования дефицита бюджета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786063" y="1000125"/>
            <a:ext cx="3786187" cy="357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ИПЫ ДОХОДОВ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0" y="1500174"/>
            <a:ext cx="51435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алоговые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алог на доход физических лиц (НДФЛ)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единый налог на вмененный доход (ЕНВД)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единый сельскохозяйственный налог  (ЕСХН)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акцизы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государственная пошлина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алог, взимаемый в связи с применением патентной системы налогообложения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14942" y="1500174"/>
            <a:ext cx="392905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езвозмездные поступления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отации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убвенции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убсидии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иные межбюджетные трансферты.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357422" y="3786190"/>
            <a:ext cx="450059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еналоговые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арендная плата за земельные участки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родажа земельных участков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оходы от сдачи в аренду имущества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латежи от муниципальных унитарных предприятий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лата за негативное воздействие на окружающую среду;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оходы от оказания платных услуг; </a:t>
            </a:r>
          </a:p>
          <a:p>
            <a:pPr marL="342900" indent="-342900">
              <a:buFont typeface="Wingdings" pitchFamily="2" charset="2"/>
              <a:buChar char="Ø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штрафы, санкции, возмещение ущерб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728" y="3929066"/>
            <a:ext cx="6192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гнозируемое увеличение поступлений налоговых и неналоговых доход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15616" y="188640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ОБЪЕМ ДОХОДОВ МЕСТНОГО БЮДЖЕТА</a:t>
            </a: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1187624" y="642918"/>
          <a:ext cx="795637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Левая фигурная скобка 4"/>
          <p:cNvSpPr/>
          <p:nvPr/>
        </p:nvSpPr>
        <p:spPr>
          <a:xfrm rot="16200000">
            <a:off x="3425572" y="568060"/>
            <a:ext cx="292592" cy="4286280"/>
          </a:xfrm>
          <a:prstGeom prst="leftBrace">
            <a:avLst>
              <a:gd name="adj1" fmla="val 8333"/>
              <a:gd name="adj2" fmla="val 5022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051720" y="2996952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1 161 569,74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9512" y="1556792"/>
            <a:ext cx="1080120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2018</a:t>
            </a:r>
          </a:p>
          <a:p>
            <a:pPr algn="ctr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95536" y="4581128"/>
            <a:ext cx="174278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7 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092280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0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267744" y="4869160"/>
            <a:ext cx="4608512" cy="4320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51520" y="5517232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61 510,19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60232" y="5517232"/>
            <a:ext cx="2304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87 025,20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5856" y="5301208"/>
            <a:ext cx="252825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92D05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25 515,01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57290" y="1857364"/>
            <a:ext cx="7858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5,1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428992" y="1857364"/>
            <a:ext cx="857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84,9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1"/>
          <p:cNvGraphicFramePr>
            <a:graphicFrameLocks/>
          </p:cNvGraphicFramePr>
          <p:nvPr/>
        </p:nvGraphicFramePr>
        <p:xfrm>
          <a:off x="-50800" y="-50800"/>
          <a:ext cx="9245600" cy="695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9144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ГНОЗ ПОСТУПЛЕНИЯ НАЛОГА НА ДОХОДЫ ФИЗИЧЕСИХ ЛИЦ</a:t>
            </a:r>
          </a:p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0" y="1428736"/>
          <a:ext cx="9144000" cy="5429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 rot="16200000">
            <a:off x="1649113" y="5208879"/>
            <a:ext cx="1357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00 072,94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3220749" y="4234019"/>
            <a:ext cx="1643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09 398,00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 rot="16200000">
            <a:off x="5022088" y="3733953"/>
            <a:ext cx="1643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14 981,00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6733180" y="3159029"/>
            <a:ext cx="1649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20 150,00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Круговая стрелка 7"/>
          <p:cNvSpPr/>
          <p:nvPr/>
        </p:nvSpPr>
        <p:spPr>
          <a:xfrm rot="19095921">
            <a:off x="2023028" y="3225552"/>
            <a:ext cx="2173476" cy="1111671"/>
          </a:xfrm>
          <a:prstGeom prst="circularArrow">
            <a:avLst>
              <a:gd name="adj1" fmla="val 5061"/>
              <a:gd name="adj2" fmla="val 1142319"/>
              <a:gd name="adj3" fmla="val 20650453"/>
              <a:gd name="adj4" fmla="val 10800000"/>
              <a:gd name="adj5" fmla="val 12500"/>
            </a:avLst>
          </a:prstGeom>
          <a:solidFill>
            <a:srgbClr val="99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59632" y="3214686"/>
            <a:ext cx="15264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+ 9 325,06</a:t>
            </a:r>
          </a:p>
          <a:p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ая прямоугольная выноска 9"/>
          <p:cNvSpPr/>
          <p:nvPr/>
        </p:nvSpPr>
        <p:spPr>
          <a:xfrm>
            <a:off x="1857356" y="764704"/>
            <a:ext cx="4572032" cy="1306974"/>
          </a:xfrm>
          <a:prstGeom prst="wedgeRoundRectCallout">
            <a:avLst>
              <a:gd name="adj1" fmla="val -34724"/>
              <a:gd name="adj2" fmla="val 134808"/>
              <a:gd name="adj3" fmla="val 16667"/>
            </a:avLst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вязи с внесенным изменением в Закон Ставропольского края норматив отчисления по НДФЛ в муниципальный район увеличился на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% </a:t>
            </a:r>
            <a:endParaRPr lang="ru-RU" sz="1800" b="1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b="1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214290"/>
            <a:ext cx="8229600" cy="5826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БЕЗВОЗМЕЗДНЫЕ ПОСТУПЛЕНИЯ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Блок-схема: альтернативный процесс 7"/>
          <p:cNvSpPr/>
          <p:nvPr/>
        </p:nvSpPr>
        <p:spPr>
          <a:xfrm>
            <a:off x="285720" y="3000372"/>
            <a:ext cx="2176463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 – </a:t>
            </a:r>
            <a:r>
              <a:rPr lang="ru-RU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ферты без определения конкретной цели использовани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карманные </a:t>
            </a:r>
            <a:r>
              <a:rPr lang="ru-RU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ньги </a:t>
            </a:r>
            <a:r>
              <a:rPr lang="ru-RU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бенка)</a:t>
            </a:r>
            <a:endParaRPr lang="ru-RU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3357554" y="3143248"/>
            <a:ext cx="242887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ферты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финансирование переданных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номочий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деньги </a:t>
            </a:r>
            <a:r>
              <a:rPr lang="ru-RU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бенку на покупки по </a:t>
            </a:r>
            <a:r>
              <a:rPr lang="ru-RU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иску)</a:t>
            </a:r>
            <a:endParaRPr lang="ru-RU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6572264" y="3000372"/>
            <a:ext cx="232092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ферты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условиях долевого софинансировани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ов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добавить </a:t>
            </a:r>
            <a:r>
              <a:rPr lang="ru-RU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ньги ребенку на его </a:t>
            </a:r>
            <a:r>
              <a:rPr lang="ru-RU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упку)</a:t>
            </a:r>
            <a:endParaRPr lang="ru-RU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rot="10800000" flipV="1">
            <a:off x="1714480" y="2428868"/>
            <a:ext cx="785820" cy="571504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4322763" y="2892419"/>
            <a:ext cx="500062" cy="1588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572264" y="2428868"/>
            <a:ext cx="785818" cy="571504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500166" y="857232"/>
            <a:ext cx="6143668" cy="1785950"/>
          </a:xfrm>
          <a:prstGeom prst="ellipse">
            <a:avLst/>
          </a:prstGeom>
          <a:solidFill>
            <a:srgbClr val="FF99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 – это денежные средства, перечисляемые из одного уровня бюджета другому</a:t>
            </a:r>
          </a:p>
        </p:txBody>
      </p:sp>
      <p:sp>
        <p:nvSpPr>
          <p:cNvPr id="14" name="Блок-схема: альтернативный процесс 13"/>
          <p:cNvSpPr/>
          <p:nvPr/>
        </p:nvSpPr>
        <p:spPr>
          <a:xfrm>
            <a:off x="1500166" y="6072206"/>
            <a:ext cx="6286544" cy="500042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ые межбюджетные трансферты</a:t>
            </a: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1142182" y="4286256"/>
            <a:ext cx="3572694" cy="794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6357950" y="1142984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42910" y="1142984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642910" y="0"/>
            <a:ext cx="8143932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БЕЗВОЗМЕЗДЫНЫЕ ПОСТУПЛЕНИЯ</a:t>
            </a: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гарантии на бесплатное общее образование и дошкольное образование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ежемесячная денежная выплата, назначаемая в случае рождения третьего ребенка или последующих детей до достижения ребенком возраста трех лет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убвенция на оплату жилищно-коммунальных услуг отдельным категориям граждан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убвенция на оказание несвязанной поддержки сельскохозяйственным товаропроизводителям в области растениеводства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на возмещение процентной ставки по кредитам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71538" y="1214422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7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858016" y="128586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71538" y="2428868"/>
            <a:ext cx="18573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 009 112,60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858016" y="2428868"/>
            <a:ext cx="15696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987 205,47</a:t>
            </a:r>
            <a:endParaRPr lang="ru-RU" sz="2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643306" y="2285992"/>
            <a:ext cx="2071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- 21 907,13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 или 2,2%</a:t>
            </a:r>
            <a:endParaRPr lang="ru-RU" sz="2400" dirty="0"/>
          </a:p>
        </p:txBody>
      </p:sp>
      <p:sp>
        <p:nvSpPr>
          <p:cNvPr id="12" name="Стрелка вниз 11"/>
          <p:cNvSpPr/>
          <p:nvPr/>
        </p:nvSpPr>
        <p:spPr>
          <a:xfrm>
            <a:off x="3857620" y="3143248"/>
            <a:ext cx="1714512" cy="78581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215206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85720" y="4572008"/>
            <a:ext cx="88582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составе иных межбюджетных трансфертов учтены следующие средства на: </a:t>
            </a: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содержание депутатов Государственной Думы и членов Совета Федерации и их помощников  - 930,00 тыс. рублей;</a:t>
            </a: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содержание контрольно счетного органа  - 499,82 тыс. рублей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72396" y="642918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000" b="1" i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0" y="785794"/>
          <a:ext cx="9144000" cy="3929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>
          <a:xfrm>
            <a:off x="428596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БЕЗВОЗМЕЗДНЫЕ   ПОСТУПЛЕНИЯ НА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8 го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00430" y="3857628"/>
            <a:ext cx="1714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убвенции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5984" y="571480"/>
            <a:ext cx="1571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Дотация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86182" y="1428736"/>
            <a:ext cx="1643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убсидия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571868" y="1785926"/>
            <a:ext cx="357190" cy="2143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071802" y="4071942"/>
            <a:ext cx="500066" cy="730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400" b="1" kern="0" dirty="0" smtClean="0"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sz="2400" b="1" kern="0" dirty="0">
                <a:latin typeface="Times New Roman" pitchFamily="18" charset="0"/>
                <a:ea typeface="+mj-ea"/>
                <a:cs typeface="+mj-cs"/>
              </a:rPr>
              <a:t>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 smtClean="0"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kern="0" dirty="0">
                <a:latin typeface="Times New Roman" pitchFamily="18" charset="0"/>
                <a:ea typeface="+mj-ea"/>
                <a:cs typeface="+mj-cs"/>
              </a:rPr>
              <a:t>бюджета </a:t>
            </a:r>
            <a:r>
              <a:rPr lang="ru-RU" kern="0" dirty="0" smtClean="0">
                <a:latin typeface="Times New Roman" pitchFamily="18" charset="0"/>
                <a:ea typeface="+mj-ea"/>
                <a:cs typeface="+mj-cs"/>
              </a:rPr>
              <a:t>–денежные </a:t>
            </a:r>
            <a:r>
              <a:rPr lang="ru-RU" kern="0" dirty="0">
                <a:latin typeface="Times New Roman" pitchFamily="18" charset="0"/>
                <a:ea typeface="+mj-ea"/>
                <a:cs typeface="+mj-cs"/>
              </a:rPr>
              <a:t>средства, </a:t>
            </a:r>
            <a:r>
              <a:rPr lang="ru-RU" kern="0" dirty="0" smtClean="0">
                <a:latin typeface="Times New Roman" pitchFamily="18" charset="0"/>
                <a:ea typeface="+mj-ea"/>
                <a:cs typeface="+mj-cs"/>
              </a:rPr>
              <a:t>направляемые на финансовое обеспечение задач и функций государства и местного самоуправления.</a:t>
            </a:r>
            <a:endParaRPr lang="ru-RU" kern="0" dirty="0"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43174" y="1000108"/>
            <a:ext cx="3786187" cy="571487"/>
          </a:xfrm>
          <a:prstGeom prst="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 РАСХОДОВ ПО ПРИЗНАКАМ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4282" y="1928802"/>
            <a:ext cx="2700000" cy="4714314"/>
          </a:xfrm>
          <a:prstGeom prst="roundRect">
            <a:avLst/>
          </a:prstGeom>
          <a:solidFill>
            <a:srgbClr val="CC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ункциональ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от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выполнени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функци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сударств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муниципалитета) (раздел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раздел→ целевы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тьи→ виды расходов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02" y="1928802"/>
            <a:ext cx="2842876" cy="4714314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омствен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епосредственно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язана со структуро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я, отоб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ределение бюджетных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 по главным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дителям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(органы МСУ,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администрации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72198" y="1928802"/>
            <a:ext cx="2842876" cy="4714314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ономическа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азывает деление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текущие и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питальные, а также на выплату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работной пл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ые затр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бретение товаров и услуг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категория расходов→ группы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метные статьи→ подстатьи)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трелка углом 24"/>
          <p:cNvSpPr/>
          <p:nvPr/>
        </p:nvSpPr>
        <p:spPr>
          <a:xfrm rot="5400000">
            <a:off x="658520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 rot="5400000" flipV="1">
            <a:off x="176735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4286248" y="1643050"/>
            <a:ext cx="285752" cy="214314"/>
          </a:xfrm>
          <a:prstGeom prst="downArrow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/>
          <p:nvPr/>
        </p:nvGraphicFramePr>
        <p:xfrm>
          <a:off x="0" y="285728"/>
          <a:ext cx="9144000" cy="3643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75656" y="4077072"/>
            <a:ext cx="61926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Снижение планового объема расход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05155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92D05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7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rgbClr val="92D05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92280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92D05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rgbClr val="92D05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267744" y="4869160"/>
            <a:ext cx="4608512" cy="4320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51520" y="5517233"/>
            <a:ext cx="21602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70 622,76</a:t>
            </a:r>
          </a:p>
          <a:p>
            <a:pPr algn="ctr"/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60232" y="5517232"/>
            <a:ext cx="2304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61 569,74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253093" y="5301208"/>
            <a:ext cx="227979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92D05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- 9 053,02</a:t>
            </a:r>
            <a:endParaRPr lang="ru-RU" sz="4000" b="1" cap="none" spc="0" dirty="0" smtClean="0">
              <a:ln w="12700">
                <a:solidFill>
                  <a:srgbClr val="92D050"/>
                </a:solidFill>
                <a:prstDash val="solid"/>
              </a:ln>
              <a:solidFill>
                <a:srgbClr val="92D05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28596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БЮДЖЕТА НА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8 го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2"/>
          <p:cNvSpPr txBox="1">
            <a:spLocks/>
          </p:cNvSpPr>
          <p:nvPr/>
        </p:nvSpPr>
        <p:spPr>
          <a:xfrm>
            <a:off x="0" y="0"/>
            <a:ext cx="9144000" cy="504056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2400" b="1" kern="0" dirty="0" smtClean="0">
                <a:latin typeface="Times New Roman" pitchFamily="18" charset="0"/>
                <a:cs typeface="Times New Roman" pitchFamily="18" charset="0"/>
              </a:rPr>
              <a:t>ПОНЯТИЕ «БЮДЖЕТ» И ЕГО СОСТВЛЯЮЩИЕ</a:t>
            </a:r>
            <a:endParaRPr lang="ru-RU" sz="2400" b="1" i="1" kern="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0" y="692696"/>
            <a:ext cx="9144000" cy="928670"/>
          </a:xfrm>
          <a:prstGeom prst="rect">
            <a:avLst/>
          </a:prstGeom>
        </p:spPr>
        <p:txBody>
          <a:bodyPr/>
          <a:lstStyle/>
          <a:p>
            <a:pPr marL="342900" indent="-342900" algn="just" eaLnBrk="0" hangingPunct="0">
              <a:spcBef>
                <a:spcPct val="20000"/>
              </a:spcBef>
              <a:defRPr/>
            </a:pPr>
            <a:endParaRPr lang="ru-RU" kern="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476672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– смета доходов и расходов частного лица, организации или государства в целом, устанавливаемая на определенный период времени, как правило, на год.</a:t>
            </a:r>
          </a:p>
          <a:p>
            <a:pPr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юджет представляет собой финансовый план, при помощи которого можно прогнозировать будущие поступления и затраты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5" name="Picture 3" descr="C:\Users\Velehk Sain\Desktop\Открытый бюджет\Новая папка\5747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1538" y="2000240"/>
            <a:ext cx="7079353" cy="4176464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4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 r="557"/>
          <a:stretch>
            <a:fillRect/>
          </a:stretch>
        </p:blipFill>
        <p:spPr bwMode="auto">
          <a:xfrm>
            <a:off x="0" y="4572008"/>
            <a:ext cx="6786578" cy="20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500166" y="0"/>
            <a:ext cx="6143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ТРУКТУРА БЮДЖЕ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714356"/>
          <a:ext cx="9144000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000364" y="3643314"/>
            <a:ext cx="34290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асходы социальных отраслей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b="11523"/>
          <a:stretch>
            <a:fillRect/>
          </a:stretch>
        </p:blipFill>
        <p:spPr bwMode="auto">
          <a:xfrm>
            <a:off x="6643702" y="4572008"/>
            <a:ext cx="2500298" cy="2071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8712968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УВЕЛИЧЕНИЕ РАСХОДОВ НА:</a:t>
            </a: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умму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досчета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до годовой потребности на содержание детского сада с.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Серноводское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на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 400,39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мероприятия направленные на оздоровление детей (МУ ДО ДООЦ «Звездный»)  на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358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обеспечение выплаты минимального размера оплаты труда (с 01.01.2018 года в размер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9 489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ублей в месяц) - на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23 547,94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овышение заработной платы работникам муниципальных учреждений культуры на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1 843,72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овышение заработной платы педагогическим работникам муниципальных организаций дополнительного образования детей на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2 276,16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едоставление мер социальной поддержке по оплате жилья, коммунальных услуг или отдельных их видов работникам муниципальных учреждений культуры, работающим и проживающим в сельской местности до расчетного размера ежемесячной денежной выплаты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739,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рублей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ackard Bell\Desktop\Новая папка (2)\bda9fe87fcc7a175b1eb6e9f6b021eaa.jpg"/>
          <p:cNvPicPr>
            <a:picLocks noChangeAspect="1" noChangeArrowheads="1"/>
          </p:cNvPicPr>
          <p:nvPr/>
        </p:nvPicPr>
        <p:blipFill>
          <a:blip r:embed="rId2" cstate="print"/>
          <a:srcRect t="17596" b="9150"/>
          <a:stretch>
            <a:fillRect/>
          </a:stretch>
        </p:blipFill>
        <p:spPr bwMode="auto">
          <a:xfrm>
            <a:off x="0" y="2956888"/>
            <a:ext cx="9144000" cy="4000504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500034" y="0"/>
            <a:ext cx="8215370" cy="3210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проекте бюджета учтены средства </a:t>
            </a:r>
          </a:p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расходов:</a:t>
            </a:r>
          </a:p>
          <a:p>
            <a:pPr indent="457200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indent="4572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на  комплектование книжных фондов библиотек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64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indent="4572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проведение работ по замене оконных блоков в муниципальных 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50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indent="457200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проведение работ по ремонту кровель в муниципальных обще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50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ект  бюджета  сформирован на основе  14 муниципальных программ Курского муниципального района </a:t>
            </a:r>
          </a:p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тавропольского края </a:t>
            </a: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0" y="1412776"/>
          <a:ext cx="914400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:\Users\exfias\Desktop\логотип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08" y="3113808"/>
            <a:ext cx="3428992" cy="3744192"/>
          </a:xfrm>
          <a:prstGeom prst="rect">
            <a:avLst/>
          </a:prstGeom>
          <a:noFill/>
        </p:spPr>
      </p:pic>
      <p:graphicFrame>
        <p:nvGraphicFramePr>
          <p:cNvPr id="6" name="Диаграмма 5"/>
          <p:cNvGraphicFramePr/>
          <p:nvPr/>
        </p:nvGraphicFramePr>
        <p:xfrm>
          <a:off x="0" y="571480"/>
          <a:ext cx="7000892" cy="4929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357290" y="71414"/>
            <a:ext cx="61436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ТРУКТУРА РАСХОДОВ БЮДЖЕТА на 2018 год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0" y="0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ПРЕДУСМОТРЕННЫЕ</a:t>
            </a:r>
            <a:r>
              <a:rPr kumimoji="0" lang="ru-RU" sz="2400" b="1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 НА ВЫПОЛНЕНИ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14  МУНИЦИПАЛЬНЫХ ПРОГРАММ</a:t>
            </a:r>
            <a:endParaRPr kumimoji="0" lang="ru-RU" sz="2400" b="1" i="0" u="none" strike="noStrike" kern="0" cap="none" spc="0" normalizeH="0" baseline="0" noProof="0" dirty="0" smtClean="0">
              <a:ln>
                <a:noFill/>
              </a:ln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42910" y="5072074"/>
            <a:ext cx="216000" cy="21431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БЮДЖЕТ   КУРСКОГО   МУНИЦИПАЛЬНОГО   РАЙОНА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71406" y="714356"/>
          <a:ext cx="9072594" cy="4675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1"/>
          <p:cNvSpPr txBox="1"/>
          <p:nvPr/>
        </p:nvSpPr>
        <p:spPr>
          <a:xfrm rot="16200000">
            <a:off x="2015716" y="3753036"/>
            <a:ext cx="1584176" cy="36004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 161 569,74</a:t>
            </a:r>
          </a:p>
          <a:p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1"/>
          <p:cNvSpPr txBox="1"/>
          <p:nvPr/>
        </p:nvSpPr>
        <p:spPr>
          <a:xfrm rot="16200000">
            <a:off x="3857620" y="3357562"/>
            <a:ext cx="1500198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 178 444,51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1"/>
          <p:cNvSpPr txBox="1"/>
          <p:nvPr/>
        </p:nvSpPr>
        <p:spPr>
          <a:xfrm rot="16200000">
            <a:off x="3286116" y="3357562"/>
            <a:ext cx="1500198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 178 444,51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"/>
          <p:cNvSpPr txBox="1"/>
          <p:nvPr/>
        </p:nvSpPr>
        <p:spPr>
          <a:xfrm rot="16200000">
            <a:off x="5214942" y="2571744"/>
            <a:ext cx="1500198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 188 954,84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 rot="16200000">
            <a:off x="5822165" y="2607463"/>
            <a:ext cx="1428760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1 188 954,84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реднемесячная начисленная заработная плата наемных работников в организациях, у индивидуальных предпринимателей и физических лиц (среднемесячный доход от трудовой деятельности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323529" y="1412776"/>
          <a:ext cx="8568952" cy="5184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27584" y="260648"/>
            <a:ext cx="76328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 smtClean="0">
                <a:latin typeface="Times New Roman" pitchFamily="18" charset="0"/>
                <a:cs typeface="Times New Roman" pitchFamily="18" charset="0"/>
              </a:rPr>
              <a:t>Работники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 smtClean="0">
                <a:latin typeface="Times New Roman" pitchFamily="18" charset="0"/>
                <a:cs typeface="Times New Roman" pitchFamily="18" charset="0"/>
              </a:rPr>
              <a:t>муниципальных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 smtClean="0"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 smtClean="0">
                <a:latin typeface="Times New Roman" pitchFamily="18" charset="0"/>
                <a:cs typeface="Times New Roman" pitchFamily="18" charset="0"/>
              </a:rPr>
              <a:t>культуры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395536" y="836712"/>
          <a:ext cx="8640960" cy="5760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1520" y="188640"/>
            <a:ext cx="86409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едагогические работники муниципальных организаций дополнительного образования детей, педагогические работники муниципальных образовательных организаций для детей, нуждающихся в психолого-педагогической и медико-социальной помощи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395536" y="1484784"/>
          <a:ext cx="8424936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>
            <a:spLocks noChangeArrowheads="1"/>
          </p:cNvSpPr>
          <p:nvPr/>
        </p:nvSpPr>
        <p:spPr bwMode="auto">
          <a:xfrm>
            <a:off x="142844" y="5857892"/>
            <a:ext cx="285752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фицит бюджет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– превышение доходов бюджета над его расходами</a:t>
            </a:r>
          </a:p>
        </p:txBody>
      </p:sp>
      <p:sp>
        <p:nvSpPr>
          <p:cNvPr id="4" name="TextBox 9"/>
          <p:cNvSpPr txBox="1">
            <a:spLocks noChangeArrowheads="1"/>
          </p:cNvSpPr>
          <p:nvPr/>
        </p:nvSpPr>
        <p:spPr bwMode="auto">
          <a:xfrm>
            <a:off x="6215074" y="5857892"/>
            <a:ext cx="271464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Дефицит бюджет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– превышение расходов бюджета над его доходам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9144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b="1" kern="0" dirty="0">
                <a:latin typeface="Times New Roman" pitchFamily="18" charset="0"/>
                <a:cs typeface="Times New Roman" pitchFamily="18" charset="0"/>
              </a:rPr>
              <a:t>Доходы </a:t>
            </a:r>
            <a:r>
              <a:rPr lang="ru-RU" b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поступающие </a:t>
            </a:r>
            <a:r>
              <a:rPr lang="ru-RU" kern="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kern="0" dirty="0">
                <a:latin typeface="Times New Roman" pitchFamily="18" charset="0"/>
                <a:cs typeface="Times New Roman" pitchFamily="18" charset="0"/>
              </a:rPr>
              <a:t>бюджет денежные </a:t>
            </a: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средства (налоги юридических и физических лиц, административные платежи и сборы, безвозмездные поступления </a:t>
            </a:r>
            <a:endParaRPr lang="ru-RU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620688"/>
            <a:ext cx="9144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b="1" kern="0" dirty="0" smtClean="0">
                <a:latin typeface="Times New Roman" pitchFamily="18" charset="0"/>
                <a:cs typeface="Times New Roman" pitchFamily="18" charset="0"/>
              </a:rPr>
              <a:t>Расходы – </a:t>
            </a: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выплачиваемые из бюджета денежные средства (социальные выплаты населению, содержание муниципальных учреждений (образование, ЖКХ, культура и др.) капитальное строительство и др.)</a:t>
            </a:r>
            <a:endParaRPr lang="ru-RU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1484784"/>
            <a:ext cx="9144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Источники финансирования дефицита бюджет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утверждаются органами законодательной власти в законе о бюджете на очередной финансовый год по основным видам привлеченных средств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1560" y="2564904"/>
            <a:ext cx="7992888" cy="646331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новополагающее требование, предъявляемое к органам ,составляющим и утверждающим бюджет – сбалансированность бюджета по доходам и расходам </a:t>
            </a:r>
            <a:endParaRPr lang="ru-RU" dirty="0"/>
          </a:p>
        </p:txBody>
      </p:sp>
      <p:pic>
        <p:nvPicPr>
          <p:cNvPr id="4099" name="Picture 3" descr="C:\Users\Velehk Sain\Desktop\Открытый бюджет\Новая папка\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3501008"/>
            <a:ext cx="2677976" cy="2160240"/>
          </a:xfrm>
          <a:prstGeom prst="rect">
            <a:avLst/>
          </a:prstGeom>
          <a:noFill/>
        </p:spPr>
      </p:pic>
      <p:pic>
        <p:nvPicPr>
          <p:cNvPr id="4100" name="Picture 4" descr="C:\Users\Velehk Sain\Desktop\Открытый бюджет\Новая папка\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7554" y="3500438"/>
            <a:ext cx="2304256" cy="2047727"/>
          </a:xfrm>
          <a:prstGeom prst="rect">
            <a:avLst/>
          </a:prstGeom>
          <a:noFill/>
        </p:spPr>
      </p:pic>
      <p:pic>
        <p:nvPicPr>
          <p:cNvPr id="4101" name="Picture 5" descr="C:\Users\Velehk Sain\Desktop\Открытый бюджет\Новая папка\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15074" y="3500438"/>
            <a:ext cx="2736304" cy="2052228"/>
          </a:xfrm>
          <a:prstGeom prst="rect">
            <a:avLst/>
          </a:prstGeom>
          <a:noFill/>
        </p:spPr>
      </p:pic>
      <p:sp>
        <p:nvSpPr>
          <p:cNvPr id="12" name="TextBox 9"/>
          <p:cNvSpPr txBox="1">
            <a:spLocks noChangeArrowheads="1"/>
          </p:cNvSpPr>
          <p:nvPr/>
        </p:nvSpPr>
        <p:spPr bwMode="auto">
          <a:xfrm>
            <a:off x="3143240" y="6000768"/>
            <a:ext cx="271464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балансированность бюджет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5536" y="116632"/>
            <a:ext cx="83529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ОБЪЕМЫ</a:t>
            </a:r>
          </a:p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редств, на которые изменяются расчетные показатели расходов местных бюджетов на 2018 год и плановый период 2019 и 2020 годов в части оплаты труда работников муниципальных учреждений культуры</a:t>
            </a:r>
          </a:p>
          <a:p>
            <a:pPr algn="ctr"/>
            <a:endParaRPr lang="ru-RU" dirty="0"/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323528" y="1484784"/>
          <a:ext cx="8568952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9512" y="188640"/>
            <a:ext cx="871296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ОБЪЕМЫ</a:t>
            </a:r>
          </a:p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редств, на которые изменяются расчетные показатели расходов местных бюджетов на 2018 год и плановый период 2019 и 2020 годов в части оплаты труда педагогических работников муниципальных организаций дополнительного образования детей</a:t>
            </a:r>
          </a:p>
          <a:p>
            <a:pPr algn="ctr"/>
            <a:endParaRPr lang="ru-RU" dirty="0"/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251520" y="1628800"/>
          <a:ext cx="8712968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1520" y="260648"/>
            <a:ext cx="849694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ОБЪЕМЫ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редств, на которые изменяются расчетные показатели расходов местных бюджетов на 2018 год и плановый период 2019 и 2020 годов в части обеспечения выплаты работникам организаций, финансируемых из местных бюджетов, минимального размера оплаты труда, установленного законодательством Российской Федерации</a:t>
            </a:r>
          </a:p>
          <a:p>
            <a:endParaRPr lang="ru-RU" dirty="0"/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179512" y="1772816"/>
          <a:ext cx="8784976" cy="49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520" y="260648"/>
            <a:ext cx="3106034" cy="16681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деление приоритетных расходов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940152" y="260648"/>
            <a:ext cx="2952328" cy="166815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 на выполнение муниципальных заданий муниципальным бюджетным учреждениям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3528" y="3786190"/>
            <a:ext cx="2952328" cy="281116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жесточение бюджетной дисциплины при доведении субсидий на выполнение муниципальных заданий муниципальным бюджетным учреждениям муниципальным образованиям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929322" y="3857628"/>
            <a:ext cx="2952328" cy="272889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ругие меры по рациональному распоряжению имеющимися средствами бюджета в ходе его исполнения.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915816" y="2132856"/>
            <a:ext cx="3312368" cy="1656184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струменты обеспечения устойчивости бюджета</a:t>
            </a:r>
          </a:p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>
            <a:stCxn id="3" idx="2"/>
            <a:endCxn id="8" idx="1"/>
          </p:cNvCxnSpPr>
          <p:nvPr/>
        </p:nvCxnSpPr>
        <p:spPr>
          <a:xfrm rot="16200000" flipH="1">
            <a:off x="2379421" y="1353918"/>
            <a:ext cx="446596" cy="1596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stCxn id="5" idx="0"/>
            <a:endCxn id="8" idx="3"/>
          </p:cNvCxnSpPr>
          <p:nvPr/>
        </p:nvCxnSpPr>
        <p:spPr>
          <a:xfrm rot="5400000" flipH="1" flipV="1">
            <a:off x="2480450" y="2865740"/>
            <a:ext cx="239692" cy="16012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stCxn id="8" idx="7"/>
            <a:endCxn id="4" idx="2"/>
          </p:cNvCxnSpPr>
          <p:nvPr/>
        </p:nvCxnSpPr>
        <p:spPr>
          <a:xfrm rot="5400000" flipH="1" flipV="1">
            <a:off x="6356409" y="1315492"/>
            <a:ext cx="446596" cy="16732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>
            <a:stCxn id="8" idx="5"/>
            <a:endCxn id="6" idx="0"/>
          </p:cNvCxnSpPr>
          <p:nvPr/>
        </p:nvCxnSpPr>
        <p:spPr>
          <a:xfrm rot="16200000" flipH="1">
            <a:off x="6418727" y="2870869"/>
            <a:ext cx="311130" cy="16623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043608" y="1700808"/>
            <a:ext cx="6120680" cy="86409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билизация всех возможных доходных источников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43608" y="3212976"/>
            <a:ext cx="6120680" cy="86409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амое рачительное отношение к каждому бюджетному рублю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43608" y="4725144"/>
            <a:ext cx="6120680" cy="864096"/>
          </a:xfrm>
          <a:prstGeom prst="rect">
            <a:avLst/>
          </a:prstGeom>
          <a:solidFill>
            <a:srgbClr val="92D050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сокая ответственность всех причастных к управлению и распоряжению финансовыми ресурсами района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39552" y="260648"/>
            <a:ext cx="7992888" cy="86409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успешной реализации предлагаемого бюджета на 2018 год и плановый период 2019 и 2020 годов необходимы: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83568" y="1124744"/>
            <a:ext cx="0" cy="40324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stCxn id="3" idx="1"/>
          </p:cNvCxnSpPr>
          <p:nvPr/>
        </p:nvCxnSpPr>
        <p:spPr>
          <a:xfrm flipH="1">
            <a:off x="683568" y="2132856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>
            <a:off x="683568" y="36450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683568" y="5157192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1071538" y="1702518"/>
            <a:ext cx="6120680" cy="864096"/>
          </a:xfrm>
          <a:prstGeom prst="rect">
            <a:avLst/>
          </a:prstGeom>
          <a:solidFill>
            <a:srgbClr val="92D050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билизация всех возможных доходных источников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71538" y="3214686"/>
            <a:ext cx="6120680" cy="864096"/>
          </a:xfrm>
          <a:prstGeom prst="rect">
            <a:avLst/>
          </a:prstGeom>
          <a:solidFill>
            <a:srgbClr val="92D050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амое рачительное отношение к каждому бюджетному рублю</a:t>
            </a:r>
            <a:endParaRPr lang="ru-RU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4282" y="425470"/>
            <a:ext cx="8715404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Администраторы доходов бюджет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органы государственной власти и местного самоуправления, осуществляющие в соответствии с законодательством РФ контроль за правильностью исчисления, полнотой и своевременностью уплаты, начисление, учет, взыскание платежей в бюджет, а также имеющие в своем ведении бюджетные учреждения, которым предоставлено право получать доходы от предпринимательской деятельности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Бюджет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Бюджетная система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юридических нормах совокупность всех видов бюджетов в стране, имеющих между собой установленные законом взаимоотношения. Единство бюджетной системы основано на взаимодействии бюджетов всех уровней, осуществляемом через использование регулирующих доходных источников, создание целевых и региональных бюджетных фондов, их частичное перераспределение. Это единство реализуется через единую социально-экономическую, включая налоговую, политику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Бюджетная система Российской Федерации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государственном устройстве Российской Федерации, регулируемая нормами права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pPr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Бюджетные ассигнования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юджетные средства, предусмотренные бюджетной росписью получателю или распорядителю бюджетных средств.</a:t>
            </a:r>
          </a:p>
          <a:p>
            <a:pPr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Бюджетная роспись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— </a:t>
            </a:r>
            <a:r>
              <a:rPr lang="ru-RU" sz="1600" dirty="0" smtClean="0"/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настоящим Кодексом в целях исполнения бюджета по расходам (источникам финансирования дефицита бюджета).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9512" y="188640"/>
            <a:ext cx="8715436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Бюджетный процесс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егламентируемая нормами права деятельность органов государственной власти, органов местного самоуправления и участников бюджетного процесса по составлению и рассмотрению проектов бюджетов, проектов бюджетов государственных внебюджетных фондов, утверждению и исполнению бюджетов и бюджетов государственных внебюджетных фондов, а также по контролю за их исполнением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ньги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особый товар, который применяется всеми в обмен на любые другие товары и услуги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фицит бюдже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превышение расходов бюджета над его доходами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бюджетные средства,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денежные средства, поступающие в безвозмездном и безвозвратном порядке в соответствии с законодательством РФ в распоряжение органов государственной власти РФ, органов государственной власти субъектов РФ и органов местного самоуправления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Исполнение бюджета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— стадия бюджетного процесса, на которой осуществляется формирование и использование бюджетных средств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Исполнение сметы доходов и расходов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— комплекс мер, обеспечивающих выполнение плана поступления и расходования денежных средств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нсолидированный бюдже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— свод бюджетов всех уровней бюджетной системы Российской Федерации на соответствующей территории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Местный бюдже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униципального образования, формирование, утверждение и исполнение которого осуществляют органы местного управления.</a:t>
            </a:r>
          </a:p>
          <a:p>
            <a:pPr algn="just"/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9512" y="188640"/>
            <a:ext cx="8715436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Налог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язательный, индивидуально безвозмездный платеж, взимаемый с организаций и физических лиц в форме отчуждения принадлежащих им на праве собственности, хозяйственного ведения или оперативного управления денежных средств, в целях финансового обеспечения деятельности государства и (или) муниципальных образований. Признаки налога: принудительный характер; безвозмездность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Профицит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юджета — превышение доходов бюджета над его расходами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ные обязательства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— обусловленные законом, иным нормативно-правовым актом, договором или соглашением обязанности Российской Федерации, субъекта Российской Федерации, муниципального образования предоставить физическим и юридическим лицам, органам государственной власти (органам местного самоуправления) средства соответствующего бюджета (государственного внебюджетного фонда, территориального государственного внебюджетного фонда)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— затраты организации, приводящие к уменьшению ее средств или увеличению ее обязательств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еестр расходных обязательств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свод указанных законов, нормативных правовых актов и договоров, соглашений и/или их отдельных положений, которые должны вести органы исполнительной власти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Сбалансированность бюджет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принцип формирования и исполнения бюджета, состоящий в количественном соответствии бюджетных доходов источникам их финансирования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Смет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финансовый документ, содержащий информацию об образовании и расходовании денежных средств в соответствии с их целевым назначением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Смета расходов и доходов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— финансовый план учреждения (организации), осуществляющего некоммерческую деятельность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1" name="Содержимое 2"/>
          <p:cNvSpPr>
            <a:spLocks noGrp="1"/>
          </p:cNvSpPr>
          <p:nvPr>
            <p:ph idx="1"/>
          </p:nvPr>
        </p:nvSpPr>
        <p:spPr>
          <a:xfrm>
            <a:off x="250825" y="333375"/>
            <a:ext cx="8716963" cy="6191250"/>
          </a:xfrm>
        </p:spPr>
        <p:txBody>
          <a:bodyPr/>
          <a:lstStyle/>
          <a:p>
            <a:pPr algn="ctr">
              <a:buFontTx/>
              <a:buNone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Контактная информация:</a:t>
            </a: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Финансовое управление </a:t>
            </a:r>
          </a:p>
          <a:p>
            <a:pPr algn="ctr">
              <a:buFontTx/>
              <a:buNone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администрации Курского муниципального района Ставропольского края</a:t>
            </a:r>
            <a:br>
              <a:rPr lang="ru-RU" sz="2400" b="1" dirty="0" smtClean="0">
                <a:latin typeface="Times New Roman" pitchFamily="18" charset="0"/>
                <a:cs typeface="Times New Roman" pitchFamily="18" charset="0"/>
              </a:rPr>
            </a:b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Начальник Финансового управления – Мишина Елена Владимировна</a:t>
            </a:r>
          </a:p>
          <a:p>
            <a:pPr algn="ctr">
              <a:buFontTx/>
              <a:buNone/>
            </a:pPr>
            <a:endParaRPr lang="ru-RU" sz="18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Адрес: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357850,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тавропольский край,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урский район,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таница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урская,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ер. Октябрьский, 16 </a:t>
            </a: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Телефон для обращения граждан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: 8 (879-64) 6-55-54; 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факс: 8 (879-64) 6-27-99. </a:t>
            </a:r>
          </a:p>
          <a:p>
            <a:pPr algn="ctr">
              <a:buFontTx/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Электронная почта : </a:t>
            </a:r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fukursk@mail.ru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buFontTx/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График работы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: понедельник -  пятница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с 8:00 до 18:00, перерыв с 12:00 до 14:00</a:t>
            </a: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428604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kern="0" dirty="0" smtClean="0">
                <a:latin typeface="Times New Roman" pitchFamily="18" charset="0"/>
                <a:cs typeface="Times New Roman" pitchFamily="18" charset="0"/>
              </a:rPr>
              <a:t>КАКИЕ БЫВАЮТ БЮДЖЕТЫ?</a:t>
            </a:r>
            <a:endParaRPr lang="ru-RU" sz="2400" b="1" kern="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30" name="Picture 6" descr="https://im2-tub-ru.yandex.net/i?id=0126215b62536e68d83d072d5015cd98&amp;n=33&amp;h=215&amp;w=36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24190"/>
            <a:ext cx="3071802" cy="1819388"/>
          </a:xfrm>
          <a:prstGeom prst="rect">
            <a:avLst/>
          </a:prstGeom>
          <a:noFill/>
        </p:spPr>
      </p:pic>
      <p:pic>
        <p:nvPicPr>
          <p:cNvPr id="1034" name="Picture 10" descr="http://narzur.ru/uploads/articles/2016/07/25/57965310f286a8.5733310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14678" y="3929066"/>
            <a:ext cx="3000396" cy="1714512"/>
          </a:xfrm>
          <a:prstGeom prst="rect">
            <a:avLst/>
          </a:prstGeom>
          <a:noFill/>
        </p:spPr>
      </p:pic>
      <p:sp>
        <p:nvSpPr>
          <p:cNvPr id="1044" name="AutoShape 20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46" name="AutoShape 22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49" name="Picture 25" descr="C:\Documents and Settings\Home\Рабочий стол\Презентации\Презентации\580f7df50c8a2.jpg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36458" y="3643314"/>
            <a:ext cx="2907542" cy="2000264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571472" y="714356"/>
            <a:ext cx="18573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 семьи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86512" y="714356"/>
            <a:ext cx="2643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 организаци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5643578"/>
            <a:ext cx="30718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оссийской Федераци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федеральный бюджет, бюджеты государственных внебюджетных фондов РФ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86116" y="5643578"/>
            <a:ext cx="29289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убъектов Российской Федерации 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региональные  бюджеты, бюджеты территориальных фондов ОМС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29388" y="5643578"/>
            <a:ext cx="2714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муниципальных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образований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местные бюджеты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5" name="Прямая со стрелкой 24"/>
          <p:cNvCxnSpPr/>
          <p:nvPr/>
        </p:nvCxnSpPr>
        <p:spPr>
          <a:xfrm>
            <a:off x="4714876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rot="10800000" flipV="1">
            <a:off x="2883372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rot="5400000">
            <a:off x="3501224" y="1785926"/>
            <a:ext cx="1856594" cy="794"/>
          </a:xfrm>
          <a:prstGeom prst="straightConnector1">
            <a:avLst/>
          </a:prstGeom>
          <a:ln w="38100"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000364" y="2857496"/>
            <a:ext cx="30003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ы публично-правовых организаци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5" name="Прямая со стрелкой 34"/>
          <p:cNvCxnSpPr/>
          <p:nvPr/>
        </p:nvCxnSpPr>
        <p:spPr>
          <a:xfrm rot="10800000" flipV="1">
            <a:off x="2357422" y="3429000"/>
            <a:ext cx="785818" cy="357190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rot="5400000">
            <a:off x="4215603" y="3785397"/>
            <a:ext cx="428630" cy="1588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786446" y="3429000"/>
            <a:ext cx="1071570" cy="28575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\\172.17.14.18\общая\!Документы\!Мелещенко\С рабочего стола\2453456\Открытый бюджет\7b6d4985be60dff073b2b42a5bfe14c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2844" y="1142984"/>
            <a:ext cx="2744138" cy="1928826"/>
          </a:xfrm>
          <a:prstGeom prst="rect">
            <a:avLst/>
          </a:prstGeom>
          <a:noFill/>
        </p:spPr>
      </p:pic>
      <p:pic>
        <p:nvPicPr>
          <p:cNvPr id="1027" name="Picture 3" descr="\\172.17.14.18\общая\!Документы\!Мелещенко\С рабочего стола\2453456\Открытый бюджет\362139.jpe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00760" y="1071546"/>
            <a:ext cx="3018578" cy="192882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Velehk Sain\Desktop\Открытый бюджет\Новая папка\slide_1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УКТУРА КОНСОЛИДИРОВАННОГО БЮДЖЕТА </a:t>
            </a:r>
            <a:br>
              <a:rPr lang="ru-RU" sz="2400" b="1" dirty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КУРСКОГО РАЙОНА</a:t>
            </a:r>
            <a:endParaRPr lang="ru-RU" sz="2400" dirty="0">
              <a:solidFill>
                <a:schemeClr val="accent1">
                  <a:lumMod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 Box 23"/>
          <p:cNvSpPr txBox="1">
            <a:spLocks noChangeArrowheads="1"/>
          </p:cNvSpPr>
          <p:nvPr/>
        </p:nvSpPr>
        <p:spPr bwMode="auto">
          <a:xfrm>
            <a:off x="0" y="857232"/>
            <a:ext cx="25717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бюджет района</a:t>
            </a:r>
          </a:p>
        </p:txBody>
      </p:sp>
      <p:sp>
        <p:nvSpPr>
          <p:cNvPr id="14" name="Text Box 21"/>
          <p:cNvSpPr txBox="1">
            <a:spLocks noChangeArrowheads="1"/>
          </p:cNvSpPr>
          <p:nvPr/>
        </p:nvSpPr>
        <p:spPr bwMode="auto">
          <a:xfrm>
            <a:off x="6346815" y="857232"/>
            <a:ext cx="27971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бюджеты посел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14678" y="1357298"/>
            <a:ext cx="29289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НСОЛИДИРОВАННЫЙ БЮДЖЕТ КУРСКОГО РАЙОНА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0" name="Picture 2" descr="C:\Users\СУФД\Desktop\214124\0_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0430" y="2428868"/>
            <a:ext cx="2357454" cy="1714512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6429388" y="1357298"/>
            <a:ext cx="25717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МО Балтий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Галюгае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Канов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Кур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Мирнен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Полта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Ростовановский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ощин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ус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ерновод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т.Стодеревской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.Эдиссия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0" y="1225689"/>
            <a:ext cx="3000364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Совет 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Администрация 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Финансовое управление А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образования А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культуры «Управление культуры» 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Управление труда и социальной защиты населения А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Комитет по физической культуре и спорту» КМР СК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Центр по работе с молодежью» КМР СК </a:t>
            </a:r>
          </a:p>
          <a:p>
            <a:pPr algn="just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сельского хозяйства и охраны окружающей среды АКМР СК</a:t>
            </a:r>
            <a:endParaRPr lang="ru-RU" sz="1600" dirty="0"/>
          </a:p>
        </p:txBody>
      </p:sp>
      <p:sp>
        <p:nvSpPr>
          <p:cNvPr id="17" name="Стрелка вправо 16"/>
          <p:cNvSpPr/>
          <p:nvPr/>
        </p:nvSpPr>
        <p:spPr>
          <a:xfrm rot="10800000">
            <a:off x="5929322" y="3000372"/>
            <a:ext cx="500066" cy="500066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2928926" y="3000372"/>
            <a:ext cx="500066" cy="500066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4282" y="214290"/>
            <a:ext cx="86439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– это деятельность по составлению проекта бюджета, его рассмотрению, утверждению, исполнению, составлению отчета об исполнении и его утверждению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28662" y="1714488"/>
            <a:ext cx="5929354" cy="5000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проекта бюджета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285852" y="2500306"/>
            <a:ext cx="5929354" cy="5000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добрение проекта бюджета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500166" y="3286124"/>
            <a:ext cx="5929354" cy="5000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смотрение и утверждение бюджета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714480" y="4071942"/>
            <a:ext cx="5929354" cy="5000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нение бюджета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928794" y="4857760"/>
            <a:ext cx="5929354" cy="5000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троль за исполнением бюджета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143108" y="5643578"/>
            <a:ext cx="5929354" cy="5000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верждение бюджетной отчетности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трелка вниз 9"/>
          <p:cNvSpPr/>
          <p:nvPr/>
        </p:nvSpPr>
        <p:spPr>
          <a:xfrm>
            <a:off x="5715008" y="2214554"/>
            <a:ext cx="357190" cy="285752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>
            <a:off x="6072198" y="3000372"/>
            <a:ext cx="357190" cy="285752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6286512" y="3786190"/>
            <a:ext cx="357190" cy="285752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6500826" y="4572008"/>
            <a:ext cx="357190" cy="285752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715140" y="5357826"/>
            <a:ext cx="357190" cy="285752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714348" y="142852"/>
            <a:ext cx="7715250" cy="511156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ГРАЖДАНИН В БЮДЖЕТНОМ ПРОЦЕССЕ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214810" y="4857760"/>
            <a:ext cx="43577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ые гарантии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разование, культура, ЖКХ, физическая культура и спорт, социальные льготы и др. направления социальных гарантий населению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C:\Users\СУФД\Desktop\214124\yourincome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43240" y="714356"/>
            <a:ext cx="5857916" cy="1762547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142844" y="1071546"/>
            <a:ext cx="30003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налогоплательщик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-помогает формировать доходную часть бюджета</a:t>
            </a:r>
          </a:p>
        </p:txBody>
      </p:sp>
      <p:pic>
        <p:nvPicPr>
          <p:cNvPr id="1027" name="Picture 3" descr="C:\Users\СУФД\Desktop\214124\puzzle_pieces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914650"/>
            <a:ext cx="3790950" cy="3943350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4572000" y="3429000"/>
            <a:ext cx="34290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олучатель социальных гарантий –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сходная часть бюдже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ttp://news-vendor.com/nimages/3/2/6/326651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4422" y="1571612"/>
            <a:ext cx="7629578" cy="4857760"/>
          </a:xfrm>
          <a:prstGeom prst="rect">
            <a:avLst/>
          </a:prstGeom>
          <a:noFill/>
        </p:spPr>
      </p:pic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715250" cy="511156"/>
          </a:xfrm>
        </p:spPr>
        <p:txBody>
          <a:bodyPr>
            <a:normAutofit/>
          </a:bodyPr>
          <a:lstStyle/>
          <a:p>
            <a:pPr algn="l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ГРАЖДАНИН В БЮДЖЕТНОМ ПРОЦЕССЕ:</a:t>
            </a:r>
          </a:p>
        </p:txBody>
      </p:sp>
      <p:sp>
        <p:nvSpPr>
          <p:cNvPr id="18435" name="Содержимое 2"/>
          <p:cNvSpPr>
            <a:spLocks noGrp="1"/>
          </p:cNvSpPr>
          <p:nvPr>
            <p:ph idx="1"/>
          </p:nvPr>
        </p:nvSpPr>
        <p:spPr>
          <a:xfrm>
            <a:off x="428596" y="1071546"/>
            <a:ext cx="8715404" cy="5000660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обсуждения программ развития Курского муниципального района Ставропольского края (размещаются на сайте администрации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Оценка качества муниципальных услуг (участие в социологических опросах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 бюджете на очередной финансовый год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б исполнении бюдже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lgQYPb30y7mncAFczb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GCbz9sEyDQ.4K.9iuH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9</TotalTime>
  <Words>2252</Words>
  <Application>Microsoft Office PowerPoint</Application>
  <PresentationFormat>Экран (4:3)</PresentationFormat>
  <Paragraphs>312</Paragraphs>
  <Slides>38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39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ГРАЖДАНИН В БЮДЖЕТНОМ ПРОЦЕССЕ</vt:lpstr>
      <vt:lpstr>ГРАЖДАНИН В БЮДЖЕТНОМ ПРОЦЕССЕ:</vt:lpstr>
      <vt:lpstr>Слайд 10</vt:lpstr>
      <vt:lpstr>Слайд 11</vt:lpstr>
      <vt:lpstr>Слайд 12</vt:lpstr>
      <vt:lpstr>Слайд 13</vt:lpstr>
      <vt:lpstr>Слайд 14</vt:lpstr>
      <vt:lpstr>БЕЗВОЗМЕЗДНЫЕ ПОСТУПЛЕНИЯ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реднемесячная начисленная заработная плата наемных работников в организациях, у индивидуальных предпринимателей и физических лиц (среднемесячный доход от трудовой деятельности)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ackard Bell</dc:creator>
  <cp:lastModifiedBy>СУФД</cp:lastModifiedBy>
  <cp:revision>273</cp:revision>
  <dcterms:created xsi:type="dcterms:W3CDTF">2017-11-19T23:35:06Z</dcterms:created>
  <dcterms:modified xsi:type="dcterms:W3CDTF">2017-12-27T11:32:31Z</dcterms:modified>
</cp:coreProperties>
</file>